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media/image59.svg" ContentType="image/svg+xml"/>
  <Override PartName="/ppt/media/image61.svg" ContentType="image/svg+xml"/>
  <Override PartName="/ppt/media/image63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84" r:id="rId3"/>
    <p:sldMasterId id="2147483718" r:id="rId4"/>
  </p:sldMasterIdLst>
  <p:notesMasterIdLst>
    <p:notesMasterId r:id="rId6"/>
  </p:notesMasterIdLst>
  <p:sldIdLst>
    <p:sldId id="6102886" r:id="rId5"/>
    <p:sldId id="6102890" r:id="rId7"/>
    <p:sldId id="6102892" r:id="rId8"/>
    <p:sldId id="258" r:id="rId9"/>
    <p:sldId id="6102877" r:id="rId10"/>
    <p:sldId id="284" r:id="rId11"/>
    <p:sldId id="328" r:id="rId12"/>
    <p:sldId id="6102888" r:id="rId13"/>
    <p:sldId id="6102896" r:id="rId14"/>
    <p:sldId id="6102897" r:id="rId15"/>
    <p:sldId id="6102906" r:id="rId16"/>
    <p:sldId id="6102977" r:id="rId17"/>
    <p:sldId id="6103044" r:id="rId18"/>
    <p:sldId id="6103046" r:id="rId19"/>
    <p:sldId id="6103045" r:id="rId20"/>
    <p:sldId id="6103043" r:id="rId21"/>
    <p:sldId id="6102909" r:id="rId22"/>
    <p:sldId id="6102910" r:id="rId23"/>
    <p:sldId id="6102911" r:id="rId24"/>
    <p:sldId id="6102912" r:id="rId25"/>
    <p:sldId id="6102913" r:id="rId26"/>
    <p:sldId id="6102915" r:id="rId27"/>
    <p:sldId id="6102916" r:id="rId28"/>
    <p:sldId id="6102918" r:id="rId29"/>
    <p:sldId id="6102917" r:id="rId30"/>
    <p:sldId id="6102919" r:id="rId31"/>
    <p:sldId id="6102920" r:id="rId32"/>
    <p:sldId id="6102921" r:id="rId33"/>
    <p:sldId id="6102922" r:id="rId34"/>
    <p:sldId id="6102923" r:id="rId35"/>
    <p:sldId id="6102924" r:id="rId36"/>
    <p:sldId id="6102925" r:id="rId37"/>
    <p:sldId id="6102926" r:id="rId38"/>
    <p:sldId id="6102927" r:id="rId39"/>
    <p:sldId id="6102928" r:id="rId40"/>
    <p:sldId id="6102929" r:id="rId41"/>
    <p:sldId id="6102930" r:id="rId42"/>
    <p:sldId id="6102931" r:id="rId43"/>
    <p:sldId id="6102932" r:id="rId44"/>
    <p:sldId id="6102933" r:id="rId45"/>
    <p:sldId id="6102934" r:id="rId46"/>
    <p:sldId id="6102935" r:id="rId47"/>
    <p:sldId id="6102936" r:id="rId48"/>
    <p:sldId id="6102937" r:id="rId49"/>
    <p:sldId id="6102938" r:id="rId50"/>
    <p:sldId id="6102908" r:id="rId51"/>
    <p:sldId id="6102914" r:id="rId52"/>
    <p:sldId id="293" r:id="rId53"/>
    <p:sldId id="6102898" r:id="rId54"/>
    <p:sldId id="6102899" r:id="rId55"/>
    <p:sldId id="6102900" r:id="rId56"/>
    <p:sldId id="6102901" r:id="rId57"/>
    <p:sldId id="6102902" r:id="rId58"/>
    <p:sldId id="6102903" r:id="rId59"/>
    <p:sldId id="6102904" r:id="rId60"/>
    <p:sldId id="6102905" r:id="rId61"/>
    <p:sldId id="285" r:id="rId62"/>
    <p:sldId id="316" r:id="rId63"/>
    <p:sldId id="6102872" r:id="rId64"/>
    <p:sldId id="6102873" r:id="rId65"/>
    <p:sldId id="6102874" r:id="rId66"/>
    <p:sldId id="6102876" r:id="rId67"/>
    <p:sldId id="317" r:id="rId68"/>
    <p:sldId id="318" r:id="rId69"/>
    <p:sldId id="319" r:id="rId70"/>
    <p:sldId id="320" r:id="rId71"/>
    <p:sldId id="321" r:id="rId72"/>
    <p:sldId id="326" r:id="rId73"/>
    <p:sldId id="6102878" r:id="rId74"/>
    <p:sldId id="6102879" r:id="rId75"/>
    <p:sldId id="6102880" r:id="rId76"/>
    <p:sldId id="6102881" r:id="rId77"/>
    <p:sldId id="6102882" r:id="rId78"/>
    <p:sldId id="6102883" r:id="rId79"/>
    <p:sldId id="6102884" r:id="rId80"/>
    <p:sldId id="6102885" r:id="rId81"/>
    <p:sldId id="6102894" r:id="rId82"/>
    <p:sldId id="6102895" r:id="rId83"/>
    <p:sldId id="277" r:id="rId84"/>
    <p:sldId id="289" r:id="rId85"/>
    <p:sldId id="266" r:id="rId86"/>
  </p:sldIdLst>
  <p:sldSz cx="9144000" cy="5143500" type="screen16x9"/>
  <p:notesSz cx="6858000" cy="9144000"/>
  <p:custDataLst>
    <p:tags r:id="rId9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1" autoAdjust="0"/>
    <p:restoredTop sz="93891" autoAdjust="0"/>
  </p:normalViewPr>
  <p:slideViewPr>
    <p:cSldViewPr snapToGrid="0" showGuides="1">
      <p:cViewPr varScale="1">
        <p:scale>
          <a:sx n="99" d="100"/>
          <a:sy n="99" d="100"/>
        </p:scale>
        <p:origin x="582" y="84"/>
      </p:cViewPr>
      <p:guideLst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-10792"/>
    </p:cViewPr>
  </p:outlin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1588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0" Type="http://schemas.openxmlformats.org/officeDocument/2006/relationships/tags" Target="tags/tag26.xml"/><Relationship Id="rId9" Type="http://schemas.openxmlformats.org/officeDocument/2006/relationships/slide" Target="slides/slide4.xml"/><Relationship Id="rId89" Type="http://schemas.openxmlformats.org/officeDocument/2006/relationships/tableStyles" Target="tableStyles.xml"/><Relationship Id="rId88" Type="http://schemas.openxmlformats.org/officeDocument/2006/relationships/viewProps" Target="viewProps.xml"/><Relationship Id="rId87" Type="http://schemas.openxmlformats.org/officeDocument/2006/relationships/presProps" Target="presProps.xml"/><Relationship Id="rId86" Type="http://schemas.openxmlformats.org/officeDocument/2006/relationships/slide" Target="slides/slide81.xml"/><Relationship Id="rId85" Type="http://schemas.openxmlformats.org/officeDocument/2006/relationships/slide" Target="slides/slide80.xml"/><Relationship Id="rId84" Type="http://schemas.openxmlformats.org/officeDocument/2006/relationships/slide" Target="slides/slide79.xml"/><Relationship Id="rId83" Type="http://schemas.openxmlformats.org/officeDocument/2006/relationships/slide" Target="slides/slide78.xml"/><Relationship Id="rId82" Type="http://schemas.openxmlformats.org/officeDocument/2006/relationships/slide" Target="slides/slide77.xml"/><Relationship Id="rId81" Type="http://schemas.openxmlformats.org/officeDocument/2006/relationships/slide" Target="slides/slide76.xml"/><Relationship Id="rId80" Type="http://schemas.openxmlformats.org/officeDocument/2006/relationships/slide" Target="slides/slide75.xml"/><Relationship Id="rId8" Type="http://schemas.openxmlformats.org/officeDocument/2006/relationships/slide" Target="slides/slide3.xml"/><Relationship Id="rId79" Type="http://schemas.openxmlformats.org/officeDocument/2006/relationships/slide" Target="slides/slide74.xml"/><Relationship Id="rId78" Type="http://schemas.openxmlformats.org/officeDocument/2006/relationships/slide" Target="slides/slide73.xml"/><Relationship Id="rId77" Type="http://schemas.openxmlformats.org/officeDocument/2006/relationships/slide" Target="slides/slide72.xml"/><Relationship Id="rId76" Type="http://schemas.openxmlformats.org/officeDocument/2006/relationships/slide" Target="slides/slide71.xml"/><Relationship Id="rId75" Type="http://schemas.openxmlformats.org/officeDocument/2006/relationships/slide" Target="slides/slide70.xml"/><Relationship Id="rId74" Type="http://schemas.openxmlformats.org/officeDocument/2006/relationships/slide" Target="slides/slide69.xml"/><Relationship Id="rId73" Type="http://schemas.openxmlformats.org/officeDocument/2006/relationships/slide" Target="slides/slide68.xml"/><Relationship Id="rId72" Type="http://schemas.openxmlformats.org/officeDocument/2006/relationships/slide" Target="slides/slide67.xml"/><Relationship Id="rId71" Type="http://schemas.openxmlformats.org/officeDocument/2006/relationships/slide" Target="slides/slide66.xml"/><Relationship Id="rId70" Type="http://schemas.openxmlformats.org/officeDocument/2006/relationships/slide" Target="slides/slide65.xml"/><Relationship Id="rId7" Type="http://schemas.openxmlformats.org/officeDocument/2006/relationships/slide" Target="slides/slide2.xml"/><Relationship Id="rId69" Type="http://schemas.openxmlformats.org/officeDocument/2006/relationships/slide" Target="slides/slide64.xml"/><Relationship Id="rId68" Type="http://schemas.openxmlformats.org/officeDocument/2006/relationships/slide" Target="slides/slide63.xml"/><Relationship Id="rId67" Type="http://schemas.openxmlformats.org/officeDocument/2006/relationships/slide" Target="slides/slide62.xml"/><Relationship Id="rId66" Type="http://schemas.openxmlformats.org/officeDocument/2006/relationships/slide" Target="slides/slide61.xml"/><Relationship Id="rId65" Type="http://schemas.openxmlformats.org/officeDocument/2006/relationships/slide" Target="slides/slide60.xml"/><Relationship Id="rId64" Type="http://schemas.openxmlformats.org/officeDocument/2006/relationships/slide" Target="slides/slide59.xml"/><Relationship Id="rId63" Type="http://schemas.openxmlformats.org/officeDocument/2006/relationships/slide" Target="slides/slide58.xml"/><Relationship Id="rId62" Type="http://schemas.openxmlformats.org/officeDocument/2006/relationships/slide" Target="slides/slide57.xml"/><Relationship Id="rId61" Type="http://schemas.openxmlformats.org/officeDocument/2006/relationships/slide" Target="slides/slide56.xml"/><Relationship Id="rId60" Type="http://schemas.openxmlformats.org/officeDocument/2006/relationships/slide" Target="slides/slide55.xml"/><Relationship Id="rId6" Type="http://schemas.openxmlformats.org/officeDocument/2006/relationships/notesMaster" Target="notesMasters/notesMaster1.xml"/><Relationship Id="rId59" Type="http://schemas.openxmlformats.org/officeDocument/2006/relationships/slide" Target="slides/slide54.xml"/><Relationship Id="rId58" Type="http://schemas.openxmlformats.org/officeDocument/2006/relationships/slide" Target="slides/slide53.xml"/><Relationship Id="rId57" Type="http://schemas.openxmlformats.org/officeDocument/2006/relationships/slide" Target="slides/slide52.xml"/><Relationship Id="rId56" Type="http://schemas.openxmlformats.org/officeDocument/2006/relationships/slide" Target="slides/slide51.xml"/><Relationship Id="rId55" Type="http://schemas.openxmlformats.org/officeDocument/2006/relationships/slide" Target="slides/slide50.xml"/><Relationship Id="rId54" Type="http://schemas.openxmlformats.org/officeDocument/2006/relationships/slide" Target="slides/slide49.xml"/><Relationship Id="rId53" Type="http://schemas.openxmlformats.org/officeDocument/2006/relationships/slide" Target="slides/slide48.xml"/><Relationship Id="rId52" Type="http://schemas.openxmlformats.org/officeDocument/2006/relationships/slide" Target="slides/slide47.xml"/><Relationship Id="rId51" Type="http://schemas.openxmlformats.org/officeDocument/2006/relationships/slide" Target="slides/slide46.xml"/><Relationship Id="rId50" Type="http://schemas.openxmlformats.org/officeDocument/2006/relationships/slide" Target="slides/slide45.xml"/><Relationship Id="rId5" Type="http://schemas.openxmlformats.org/officeDocument/2006/relationships/slide" Target="slides/slide1.xml"/><Relationship Id="rId49" Type="http://schemas.openxmlformats.org/officeDocument/2006/relationships/slide" Target="slides/slide44.xml"/><Relationship Id="rId48" Type="http://schemas.openxmlformats.org/officeDocument/2006/relationships/slide" Target="slides/slide43.xml"/><Relationship Id="rId47" Type="http://schemas.openxmlformats.org/officeDocument/2006/relationships/slide" Target="slides/slide42.xml"/><Relationship Id="rId46" Type="http://schemas.openxmlformats.org/officeDocument/2006/relationships/slide" Target="slides/slide41.xml"/><Relationship Id="rId45" Type="http://schemas.openxmlformats.org/officeDocument/2006/relationships/slide" Target="slides/slide40.xml"/><Relationship Id="rId44" Type="http://schemas.openxmlformats.org/officeDocument/2006/relationships/slide" Target="slides/slide39.xml"/><Relationship Id="rId43" Type="http://schemas.openxmlformats.org/officeDocument/2006/relationships/slide" Target="slides/slide38.xml"/><Relationship Id="rId42" Type="http://schemas.openxmlformats.org/officeDocument/2006/relationships/slide" Target="slides/slide37.xml"/><Relationship Id="rId41" Type="http://schemas.openxmlformats.org/officeDocument/2006/relationships/slide" Target="slides/slide36.xml"/><Relationship Id="rId40" Type="http://schemas.openxmlformats.org/officeDocument/2006/relationships/slide" Target="slides/slide35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34.xml"/><Relationship Id="rId38" Type="http://schemas.openxmlformats.org/officeDocument/2006/relationships/slide" Target="slides/slide33.xml"/><Relationship Id="rId37" Type="http://schemas.openxmlformats.org/officeDocument/2006/relationships/slide" Target="slides/slide32.xml"/><Relationship Id="rId36" Type="http://schemas.openxmlformats.org/officeDocument/2006/relationships/slide" Target="slides/slide31.xml"/><Relationship Id="rId35" Type="http://schemas.openxmlformats.org/officeDocument/2006/relationships/slide" Target="slides/slide30.xml"/><Relationship Id="rId34" Type="http://schemas.openxmlformats.org/officeDocument/2006/relationships/slide" Target="slides/slide29.xml"/><Relationship Id="rId33" Type="http://schemas.openxmlformats.org/officeDocument/2006/relationships/slide" Target="slides/slide28.xml"/><Relationship Id="rId32" Type="http://schemas.openxmlformats.org/officeDocument/2006/relationships/slide" Target="slides/slide27.xml"/><Relationship Id="rId31" Type="http://schemas.openxmlformats.org/officeDocument/2006/relationships/slide" Target="slides/slide26.xml"/><Relationship Id="rId30" Type="http://schemas.openxmlformats.org/officeDocument/2006/relationships/slide" Target="slides/slide25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8" Type="http://schemas.openxmlformats.org/officeDocument/2006/relationships/slide" Target="slides/slide23.xml"/><Relationship Id="rId27" Type="http://schemas.openxmlformats.org/officeDocument/2006/relationships/slide" Target="slides/slide22.xml"/><Relationship Id="rId26" Type="http://schemas.openxmlformats.org/officeDocument/2006/relationships/slide" Target="slides/slide21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739233074498"/>
          <c:y val="0.102147490374276"/>
          <c:w val="0.608521292617258"/>
          <c:h val="0.8750001734364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6350">
              <a:solidFill>
                <a:srgbClr val="FFFFFF"/>
              </a:solidFill>
              <a:prstDash val="solid"/>
            </a:ln>
          </c:spPr>
          <c:explosion val="0"/>
          <c:dPt>
            <c:idx val="0"/>
            <c:bubble3D val="0"/>
            <c:spPr>
              <a:solidFill>
                <a:srgbClr val="000078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0598FA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0046FF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000AD2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0573FF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483FCD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9180FF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7"/>
            <c:bubble3D val="0"/>
            <c:spPr>
              <a:solidFill>
                <a:srgbClr val="6951FF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8"/>
            <c:bubble3D val="0"/>
            <c:spPr>
              <a:solidFill>
                <a:srgbClr val="3831A0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9"/>
            <c:bubble3D val="0"/>
            <c:spPr>
              <a:solidFill>
                <a:srgbClr val="B436E8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10"/>
            <c:bubble3D val="0"/>
            <c:spPr>
              <a:solidFill>
                <a:srgbClr val="842685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11"/>
            <c:bubble3D val="0"/>
            <c:spPr>
              <a:solidFill>
                <a:srgbClr val="2BA694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12"/>
            <c:bubble3D val="0"/>
            <c:spPr>
              <a:solidFill>
                <a:srgbClr val="01594C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Pt>
            <c:idx val="13"/>
            <c:bubble3D val="0"/>
            <c:spPr>
              <a:solidFill>
                <a:srgbClr val="007F6B"/>
              </a:solidFill>
              <a:ln w="635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estFit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rgbClr val="000000"/>
                      </a:solidFill>
                      <a:prstDash val="solid"/>
                      <a:round/>
                    </a:ln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DV1</c:v>
                </c:pt>
                <c:pt idx="1">
                  <c:v>DV5</c:v>
                </c:pt>
                <c:pt idx="2">
                  <c:v>DV3</c:v>
                </c:pt>
                <c:pt idx="3">
                  <c:v>DV2</c:v>
                </c:pt>
                <c:pt idx="4">
                  <c:v>DV4</c:v>
                </c:pt>
                <c:pt idx="5">
                  <c:v>DV7</c:v>
                </c:pt>
                <c:pt idx="6">
                  <c:v>DV9</c:v>
                </c:pt>
                <c:pt idx="7">
                  <c:v>DV8</c:v>
                </c:pt>
                <c:pt idx="8">
                  <c:v>DV6</c:v>
                </c:pt>
                <c:pt idx="9">
                  <c:v>DV11</c:v>
                </c:pt>
                <c:pt idx="10">
                  <c:v>DV10</c:v>
                </c:pt>
                <c:pt idx="11">
                  <c:v>DV12</c:v>
                </c:pt>
                <c:pt idx="12">
                  <c:v>DV14</c:v>
                </c:pt>
                <c:pt idx="13">
                  <c:v>DV1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noFill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"/>
          <c:y val="0.116560946906295"/>
          <c:w val="0.79770088021163"/>
          <c:h val="0.55651247860908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25171719263754"/>
          <c:w val="0.99453434115781"/>
          <c:h val="0.1715238606450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"/>
          <c:y val="0.116560946906295"/>
          <c:w val="0.79770088021163"/>
          <c:h val="0.55651247860908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9270499849326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"/>
          <c:y val="0.116560946906295"/>
          <c:w val="0.79770088021163"/>
          <c:h val="0.55651247860908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453434115781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"/>
          <c:y val="0.116560946906295"/>
          <c:w val="0.79770088021163"/>
          <c:h val="0.55651247860908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8926151982481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52034928185108"/>
          <c:y val="0.19083897729567"/>
          <c:w val="0.909135958303116"/>
          <c:h val="0.496698052603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61579575280363"/>
          <c:w val="1"/>
          <c:h val="0.13842042471963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800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52034928185108"/>
          <c:y val="0.19083897729567"/>
          <c:w val="0.909135958303116"/>
          <c:h val="0.496698052603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61579575280363"/>
          <c:w val="1"/>
          <c:h val="0.13842042471963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800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52034928185108"/>
          <c:y val="0.19083897729567"/>
          <c:w val="0.909135958303116"/>
          <c:h val="0.496698052603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61579575280363"/>
          <c:w val="1"/>
          <c:h val="0.13842042471963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800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52034928185108"/>
          <c:y val="0.19083897729567"/>
          <c:w val="0.909135958303116"/>
          <c:h val="0.496698052603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61579575280363"/>
          <c:w val="1"/>
          <c:h val="0.13842042471963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800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.00592812152649129"/>
          <c:y val="0.105901801789907"/>
          <c:w val="0.982586143015932"/>
          <c:h val="0.8676227760308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3.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2.8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lt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63727232"/>
        <c:axId val="1483136"/>
      </c:barChart>
      <c:catAx>
        <c:axId val="163727232"/>
        <c:scaling>
          <c:orientation val="minMax"/>
        </c:scaling>
        <c:delete val="0"/>
        <c:axPos val="b"/>
        <c:numFmt formatCode="mmm\ yy" sourceLinked="0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483136"/>
        <c:crosses val="autoZero"/>
        <c:auto val="1"/>
        <c:lblAlgn val="ctr"/>
        <c:lblOffset val="100"/>
        <c:noMultiLvlLbl val="0"/>
      </c:catAx>
      <c:valAx>
        <c:axId val="148313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63727232"/>
        <c:crosses val="autoZero"/>
        <c:crossBetween val="between"/>
      </c:valAx>
    </c:plotArea>
    <c:legend>
      <c:legendPos val="t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.515746572804742"/>
          <c:y val="0"/>
          <c:w val="0.484253427195257"/>
          <c:h val="0.0752927760934326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.00592922028302223"/>
          <c:y val="0.205128205128205"/>
          <c:w val="0.895312262736356"/>
          <c:h val="0.7552447552447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00148230507075556"/>
                  <c:y val="0"/>
                </c:manualLayout>
              </c:layout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  <c:max val="6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2"/>
      </c:valAx>
    </c:plotArea>
    <c:legend>
      <c:legendPos val="r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.912933135085729"/>
          <c:y val="0.0372960372960373"/>
          <c:w val="0.0781730344897375"/>
          <c:h val="0.962703962703963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.00592922028302223"/>
          <c:y val="0.205847877387161"/>
          <c:w val="0.895312262736356"/>
          <c:h val="0.757894457652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4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  <c:max val="6"/>
        </c:scaling>
        <c:delete val="0"/>
        <c:axPos val="l"/>
        <c:majorGridlines>
          <c:spPr>
            <a:ln w="6350" cap="flat" cmpd="sng" algn="ctr">
              <a:solidFill>
                <a:srgbClr val="000000">
                  <a:tint val="70000"/>
                </a:srgb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lt"/>
                <a:cs typeface="+mn-lt"/>
              </a:defRPr>
            </a:pPr>
          </a:p>
        </c:txPr>
        <c:crossAx val="110179152"/>
        <c:crosses val="autoZero"/>
        <c:crossBetween val="between"/>
        <c:majorUnit val="2"/>
      </c:valAx>
    </c:plotArea>
    <c:legend>
      <c:legendPos val="r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.912933135085729"/>
          <c:y val="0.0374268867976657"/>
          <c:w val="0.0781730344897375"/>
          <c:h val="0.962573113202334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6712149910745"/>
          <c:y val="0.11343837049981"/>
          <c:w val="0.482812602697164"/>
          <c:h val="0.6938062694459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1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0615617268571"/>
          <c:y val="0.116742789731218"/>
          <c:w val="0.478213485929162"/>
          <c:h val="0.68719717079268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7913238523446"/>
          <c:h val="0.1483929200067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800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1"/>
          <c:y val="0.120639173718048"/>
          <c:w val="0.636658825518009"/>
          <c:h val="0.58800880588925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1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1"/>
          <c:y val="0.120639173718048"/>
          <c:w val="0.636658825518009"/>
          <c:h val="0.58800880588925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8093051427606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1"/>
          <c:y val="0.120639173718048"/>
          <c:w val="0.636658825518009"/>
          <c:h val="0.58800880588925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6350"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"/>
          <c:y val="0.851607079993245"/>
          <c:w val="0.998093051427606"/>
          <c:h val="0.1450884999155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lang="zh-CN" sz="1000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B2CB79-117B-408D-94D0-A59B51B362C6}" type="doc">
      <dgm:prSet loTypeId="urn:microsoft.com/office/officeart/2005/8/layout/cycle6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B06EB18F-36BA-4627-BA26-CCF0586C4A74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一</a:t>
          </a:r>
          <a:endParaRPr lang="en-US" sz="1000" dirty="0">
            <a:solidFill>
              <a:schemeClr val="bg1"/>
            </a:solidFill>
            <a:latin typeface="Noto Sans SC Regular" panose="020B0500000000000000" pitchFamily="34" charset="-122"/>
            <a:ea typeface="Noto Sans SC Regular" panose="020B0500000000000000" pitchFamily="34" charset="-122"/>
          </a:endParaRPr>
        </a:p>
      </dgm:t>
    </dgm:pt>
    <dgm:pt modelId="{DED6AF0A-9A04-4ED9-872B-8212385BDBD8}" cxnId="{FF2BF522-CBD7-4CFB-A47C-2B319B7133F6}" type="parTrans">
      <dgm:prSet/>
      <dgm:spPr/>
      <dgm:t>
        <a:bodyPr/>
        <a:lstStyle/>
        <a:p>
          <a:endParaRPr lang="en-US"/>
        </a:p>
      </dgm:t>
    </dgm:pt>
    <dgm:pt modelId="{F2B56AF8-7647-4FC2-8D01-40A75CFC6497}" cxnId="{FF2BF522-CBD7-4CFB-A47C-2B319B7133F6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E52FBE10-9418-4F36-AB04-2993551957DE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二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DBC770B1-B23C-4D93-AE28-93C9E5C7137F}" cxnId="{7EA2DC7D-76B6-4F1C-8862-AEEFCF26E9C5}" type="parTrans">
      <dgm:prSet/>
      <dgm:spPr/>
      <dgm:t>
        <a:bodyPr/>
        <a:lstStyle/>
        <a:p>
          <a:endParaRPr lang="en-US"/>
        </a:p>
      </dgm:t>
    </dgm:pt>
    <dgm:pt modelId="{1299ED51-E89B-4C2E-A7B2-6F903CE1E747}" cxnId="{7EA2DC7D-76B6-4F1C-8862-AEEFCF26E9C5}" type="sibTrans">
      <dgm:prSet/>
      <dgm:spPr>
        <a:ln w="25400">
          <a:noFill/>
          <a:prstDash val="sysDot"/>
        </a:ln>
      </dgm:spPr>
      <dgm:t>
        <a:bodyPr/>
        <a:lstStyle/>
        <a:p>
          <a:endParaRPr lang="en-US"/>
        </a:p>
      </dgm:t>
    </dgm:pt>
    <dgm:pt modelId="{859C5616-21F7-4624-B2DD-7224EA4E34A3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三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726DF701-2FDD-42C1-8C26-3E7F07D9F32F}" cxnId="{E43DD879-D3E8-4A3E-A50F-E0A9DE0CDB9C}" type="parTrans">
      <dgm:prSet/>
      <dgm:spPr/>
      <dgm:t>
        <a:bodyPr/>
        <a:lstStyle/>
        <a:p>
          <a:endParaRPr lang="en-US"/>
        </a:p>
      </dgm:t>
    </dgm:pt>
    <dgm:pt modelId="{E9F883B8-7DB4-4FDD-96FE-15DCF71B2760}" cxnId="{E43DD879-D3E8-4A3E-A50F-E0A9DE0CDB9C}" type="sibTrans">
      <dgm:prSet/>
      <dgm:spPr>
        <a:ln w="25400">
          <a:noFill/>
        </a:ln>
      </dgm:spPr>
      <dgm:t>
        <a:bodyPr/>
        <a:lstStyle/>
        <a:p>
          <a:endParaRPr lang="en-US"/>
        </a:p>
      </dgm:t>
    </dgm:pt>
    <dgm:pt modelId="{09D0AE77-7319-49A7-9182-8B093B287346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四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A2D8829C-FBDB-4477-AEAB-30E91219B526}" cxnId="{AF910DC7-A6C1-49A4-A937-D76EDE379264}" type="parTrans">
      <dgm:prSet/>
      <dgm:spPr/>
      <dgm:t>
        <a:bodyPr/>
        <a:lstStyle/>
        <a:p>
          <a:endParaRPr lang="en-US"/>
        </a:p>
      </dgm:t>
    </dgm:pt>
    <dgm:pt modelId="{EFCF48B6-DF68-4275-87BB-E47E5CEA3F16}" cxnId="{AF910DC7-A6C1-49A4-A937-D76EDE379264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24E991DC-696F-475B-9CBA-C1E680AF657F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五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12DCCC61-ED36-4B7B-A7F3-30F1FF8B2E87}" cxnId="{6E5F688C-780C-4586-9430-3C6B8E04BA41}" type="parTrans">
      <dgm:prSet/>
      <dgm:spPr/>
      <dgm:t>
        <a:bodyPr/>
        <a:lstStyle/>
        <a:p>
          <a:endParaRPr lang="en-US"/>
        </a:p>
      </dgm:t>
    </dgm:pt>
    <dgm:pt modelId="{024B629F-BCDA-43BB-8753-372CAB3BE9B2}" cxnId="{6E5F688C-780C-4586-9430-3C6B8E04BA41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FE48D595-133A-4776-90C7-F4C2A57AF151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六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5AA31F27-3A08-4A87-B488-51E52AEF13C0}" cxnId="{C5120760-373B-464A-81AA-BDEB3511B81E}" type="parTrans">
      <dgm:prSet/>
      <dgm:spPr/>
      <dgm:t>
        <a:bodyPr/>
        <a:lstStyle/>
        <a:p>
          <a:endParaRPr lang="en-US"/>
        </a:p>
      </dgm:t>
    </dgm:pt>
    <dgm:pt modelId="{263C0F99-926C-403B-97C4-3BE8DD6E58BA}" cxnId="{C5120760-373B-464A-81AA-BDEB3511B81E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362A9C0F-F11F-4268-B105-005EE43DEF54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七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DD29DA9C-B78A-4F11-8162-977F5296F5D4}" cxnId="{F63D468F-BB4A-4229-946B-CFB61ECE0BA4}" type="parTrans">
      <dgm:prSet/>
      <dgm:spPr/>
      <dgm:t>
        <a:bodyPr/>
        <a:lstStyle/>
        <a:p>
          <a:endParaRPr lang="en-US"/>
        </a:p>
      </dgm:t>
    </dgm:pt>
    <dgm:pt modelId="{73F25698-1746-49C0-9648-DABDB74EC8D8}" cxnId="{F63D468F-BB4A-4229-946B-CFB61ECE0BA4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50612E42-D822-4543-9BBC-89C82AC2CD35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十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394E309B-E402-4491-9270-105CBFA77084}" cxnId="{42F7743D-02B9-4956-B951-B113A2EB7E86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170BECE5-6136-422F-B01E-2EC062D75C21}" cxnId="{42F7743D-02B9-4956-B951-B113A2EB7E86}" type="parTrans">
      <dgm:prSet/>
      <dgm:spPr/>
      <dgm:t>
        <a:bodyPr/>
        <a:lstStyle/>
        <a:p>
          <a:endParaRPr lang="en-US"/>
        </a:p>
      </dgm:t>
    </dgm:pt>
    <dgm:pt modelId="{8437F18C-D8D2-4E43-A40E-EDADD85A0473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八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5A2DDF57-EF58-4362-8E11-AB656D20E89D}" cxnId="{91A7FCF4-10D7-4163-AF21-C4F30E0EB346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0BE7FB49-AFD4-4284-9F25-2F3CD887B30B}" cxnId="{91A7FCF4-10D7-4163-AF21-C4F30E0EB346}" type="parTrans">
      <dgm:prSet/>
      <dgm:spPr/>
      <dgm:t>
        <a:bodyPr/>
        <a:lstStyle/>
        <a:p>
          <a:endParaRPr lang="en-US"/>
        </a:p>
      </dgm:t>
    </dgm:pt>
    <dgm:pt modelId="{16F93960-4DAC-4E30-9838-FE3B91724CE9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九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9E831857-F774-4396-AB22-B1817491ED08}" cxnId="{0A5CB47A-B5AE-43C5-AD50-EFE1FDC708B3}" type="sibTrans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C50D4BC8-6049-41B9-B09F-4B5F268C6047}" cxnId="{0A5CB47A-B5AE-43C5-AD50-EFE1FDC708B3}" type="parTrans">
      <dgm:prSet/>
      <dgm:spPr/>
      <dgm:t>
        <a:bodyPr/>
        <a:lstStyle/>
        <a:p>
          <a:endParaRPr lang="en-US"/>
        </a:p>
      </dgm:t>
    </dgm:pt>
    <dgm:pt modelId="{DB950FCD-54F6-461A-AD90-CE835C287DEF}" type="pres">
      <dgm:prSet presAssocID="{C5B2CB79-117B-408D-94D0-A59B51B362C6}" presName="cycle" presStyleCnt="0">
        <dgm:presLayoutVars>
          <dgm:dir/>
          <dgm:resizeHandles val="exact"/>
        </dgm:presLayoutVars>
      </dgm:prSet>
      <dgm:spPr/>
    </dgm:pt>
    <dgm:pt modelId="{8FC8B6E9-55E2-40DF-AB66-7C7733402D9C}" type="pres">
      <dgm:prSet presAssocID="{B06EB18F-36BA-4627-BA26-CCF0586C4A74}" presName="node" presStyleLbl="node1" presStyleIdx="0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C32DDB4B-7C00-4B9F-BEAC-3F9650451B2F}" type="pres">
      <dgm:prSet presAssocID="{B06EB18F-36BA-4627-BA26-CCF0586C4A74}" presName="spNode" presStyleCnt="0"/>
      <dgm:spPr/>
    </dgm:pt>
    <dgm:pt modelId="{18048E85-3ADF-4B79-9624-D064E6DCA554}" type="pres">
      <dgm:prSet presAssocID="{F2B56AF8-7647-4FC2-8D01-40A75CFC6497}" presName="sibTrans" presStyleLbl="sibTrans1D1" presStyleIdx="0" presStyleCnt="10"/>
      <dgm:spPr/>
    </dgm:pt>
    <dgm:pt modelId="{C470C674-D1BF-4B55-B167-06D9E74E2994}" type="pres">
      <dgm:prSet presAssocID="{E52FBE10-9418-4F36-AB04-2993551957DE}" presName="node" presStyleLbl="node1" presStyleIdx="1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6A64FDBF-489D-4C1F-8AAF-5DD1562EDC2B}" type="pres">
      <dgm:prSet presAssocID="{E52FBE10-9418-4F36-AB04-2993551957DE}" presName="spNode" presStyleCnt="0"/>
      <dgm:spPr/>
    </dgm:pt>
    <dgm:pt modelId="{FCF835F6-EDC4-448F-8D28-60DF35A75E46}" type="pres">
      <dgm:prSet presAssocID="{1299ED51-E89B-4C2E-A7B2-6F903CE1E747}" presName="sibTrans" presStyleLbl="sibTrans1D1" presStyleIdx="1" presStyleCnt="10"/>
      <dgm:spPr/>
    </dgm:pt>
    <dgm:pt modelId="{05244729-8F86-4C6C-A4BA-22C363FD2B3A}" type="pres">
      <dgm:prSet presAssocID="{859C5616-21F7-4624-B2DD-7224EA4E34A3}" presName="node" presStyleLbl="node1" presStyleIdx="2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46875B9A-83A9-4B17-8AE9-94B1CF3CF4CF}" type="pres">
      <dgm:prSet presAssocID="{859C5616-21F7-4624-B2DD-7224EA4E34A3}" presName="spNode" presStyleCnt="0"/>
      <dgm:spPr/>
    </dgm:pt>
    <dgm:pt modelId="{F40E9FFA-BE27-435E-84C2-5C7A3D7CF608}" type="pres">
      <dgm:prSet presAssocID="{E9F883B8-7DB4-4FDD-96FE-15DCF71B2760}" presName="sibTrans" presStyleLbl="sibTrans1D1" presStyleIdx="2" presStyleCnt="10"/>
      <dgm:spPr/>
    </dgm:pt>
    <dgm:pt modelId="{89B6D37C-0F49-4AC3-B7B9-F3974B80EB77}" type="pres">
      <dgm:prSet presAssocID="{09D0AE77-7319-49A7-9182-8B093B287346}" presName="node" presStyleLbl="node1" presStyleIdx="3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983771CE-4C0B-4B16-9E37-32FD40333DA9}" type="pres">
      <dgm:prSet presAssocID="{09D0AE77-7319-49A7-9182-8B093B287346}" presName="spNode" presStyleCnt="0"/>
      <dgm:spPr/>
    </dgm:pt>
    <dgm:pt modelId="{789D6A88-5C69-43C2-9EC5-3C9C14CD22BC}" type="pres">
      <dgm:prSet presAssocID="{EFCF48B6-DF68-4275-87BB-E47E5CEA3F16}" presName="sibTrans" presStyleLbl="sibTrans1D1" presStyleIdx="3" presStyleCnt="10"/>
      <dgm:spPr/>
    </dgm:pt>
    <dgm:pt modelId="{9A97C6F1-A71B-472A-B695-6E974962BB31}" type="pres">
      <dgm:prSet presAssocID="{24E991DC-696F-475B-9CBA-C1E680AF657F}" presName="node" presStyleLbl="node1" presStyleIdx="4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C5210565-EC9E-4164-B2DD-9F165E6D32B0}" type="pres">
      <dgm:prSet presAssocID="{24E991DC-696F-475B-9CBA-C1E680AF657F}" presName="spNode" presStyleCnt="0"/>
      <dgm:spPr/>
    </dgm:pt>
    <dgm:pt modelId="{59A46632-A5B1-4FAC-97E5-7E419B79DE82}" type="pres">
      <dgm:prSet presAssocID="{024B629F-BCDA-43BB-8753-372CAB3BE9B2}" presName="sibTrans" presStyleLbl="sibTrans1D1" presStyleIdx="4" presStyleCnt="10"/>
      <dgm:spPr/>
    </dgm:pt>
    <dgm:pt modelId="{F6179664-DB6D-4830-AA21-00FEC118F284}" type="pres">
      <dgm:prSet presAssocID="{FE48D595-133A-4776-90C7-F4C2A57AF151}" presName="node" presStyleLbl="node1" presStyleIdx="5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49B874BC-0B99-484E-8823-80EDC7A9D2A3}" type="pres">
      <dgm:prSet presAssocID="{FE48D595-133A-4776-90C7-F4C2A57AF151}" presName="spNode" presStyleCnt="0"/>
      <dgm:spPr/>
    </dgm:pt>
    <dgm:pt modelId="{F7A42D6C-7DE8-489A-8D67-137E300DDAE8}" type="pres">
      <dgm:prSet presAssocID="{263C0F99-926C-403B-97C4-3BE8DD6E58BA}" presName="sibTrans" presStyleLbl="sibTrans1D1" presStyleIdx="5" presStyleCnt="10"/>
      <dgm:spPr/>
    </dgm:pt>
    <dgm:pt modelId="{1C8294A5-9F04-4E33-A60E-B8E7319403E6}" type="pres">
      <dgm:prSet presAssocID="{362A9C0F-F11F-4268-B105-005EE43DEF54}" presName="node" presStyleLbl="node1" presStyleIdx="6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254D675E-DA13-4FE1-93C6-A646BC9007DD}" type="pres">
      <dgm:prSet presAssocID="{362A9C0F-F11F-4268-B105-005EE43DEF54}" presName="spNode" presStyleCnt="0"/>
      <dgm:spPr/>
    </dgm:pt>
    <dgm:pt modelId="{2D475742-4D9B-4204-8278-3C5AA56FD07B}" type="pres">
      <dgm:prSet presAssocID="{73F25698-1746-49C0-9648-DABDB74EC8D8}" presName="sibTrans" presStyleLbl="sibTrans1D1" presStyleIdx="6" presStyleCnt="10"/>
      <dgm:spPr/>
    </dgm:pt>
    <dgm:pt modelId="{3716EE8B-72EA-4CD0-B19A-599F713E2F8B}" type="pres">
      <dgm:prSet presAssocID="{8437F18C-D8D2-4E43-A40E-EDADD85A0473}" presName="node" presStyleLbl="node1" presStyleIdx="7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01A1F55E-21F6-40B1-8F86-44F43AA8B1A4}" type="pres">
      <dgm:prSet presAssocID="{8437F18C-D8D2-4E43-A40E-EDADD85A0473}" presName="spNode" presStyleCnt="0"/>
      <dgm:spPr/>
    </dgm:pt>
    <dgm:pt modelId="{E98DBE6F-3676-4734-B7AC-B82A0B1E1530}" type="pres">
      <dgm:prSet presAssocID="{5A2DDF57-EF58-4362-8E11-AB656D20E89D}" presName="sibTrans" presStyleLbl="sibTrans1D1" presStyleIdx="7" presStyleCnt="10"/>
      <dgm:spPr/>
    </dgm:pt>
    <dgm:pt modelId="{D45826B3-D8AC-403D-99B5-87C435FAFB34}" type="pres">
      <dgm:prSet presAssocID="{16F93960-4DAC-4E30-9838-FE3B91724CE9}" presName="node" presStyleLbl="node1" presStyleIdx="8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32665907-3E70-47A7-8F1E-AB79D7704B1F}" type="pres">
      <dgm:prSet presAssocID="{16F93960-4DAC-4E30-9838-FE3B91724CE9}" presName="spNode" presStyleCnt="0"/>
      <dgm:spPr/>
    </dgm:pt>
    <dgm:pt modelId="{568018CE-694D-484B-B5AD-8CE2C58CB284}" type="pres">
      <dgm:prSet presAssocID="{9E831857-F774-4396-AB22-B1817491ED08}" presName="sibTrans" presStyleLbl="sibTrans1D1" presStyleIdx="8" presStyleCnt="10"/>
      <dgm:spPr/>
    </dgm:pt>
    <dgm:pt modelId="{ED1F5358-6AA3-4E8F-907C-AC98865A95F7}" type="pres">
      <dgm:prSet presAssocID="{50612E42-D822-4543-9BBC-89C82AC2CD35}" presName="node" presStyleLbl="node1" presStyleIdx="9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7669DB5E-ED8E-4A3F-905F-C986512730A8}" type="pres">
      <dgm:prSet presAssocID="{50612E42-D822-4543-9BBC-89C82AC2CD35}" presName="spNode" presStyleCnt="0"/>
      <dgm:spPr/>
    </dgm:pt>
    <dgm:pt modelId="{8CA0A993-4F86-4669-8237-B5CACCF2F1FC}" type="pres">
      <dgm:prSet presAssocID="{394E309B-E402-4491-9270-105CBFA77084}" presName="sibTrans" presStyleLbl="sibTrans1D1" presStyleIdx="9" presStyleCnt="10"/>
      <dgm:spPr/>
    </dgm:pt>
  </dgm:ptLst>
  <dgm:cxnLst>
    <dgm:cxn modelId="{DF8D4E0B-915A-47AB-9444-26057DCE1CBA}" type="presOf" srcId="{EFCF48B6-DF68-4275-87BB-E47E5CEA3F16}" destId="{789D6A88-5C69-43C2-9EC5-3C9C14CD22BC}" srcOrd="0" destOrd="0" presId="urn:microsoft.com/office/officeart/2005/8/layout/cycle6"/>
    <dgm:cxn modelId="{7CF8E813-30A5-42B9-B285-0C3EA4B8269F}" type="presOf" srcId="{362A9C0F-F11F-4268-B105-005EE43DEF54}" destId="{1C8294A5-9F04-4E33-A60E-B8E7319403E6}" srcOrd="0" destOrd="0" presId="urn:microsoft.com/office/officeart/2005/8/layout/cycle6"/>
    <dgm:cxn modelId="{D3D30418-DC51-4319-AF23-02563C78E7A4}" type="presOf" srcId="{E9F883B8-7DB4-4FDD-96FE-15DCF71B2760}" destId="{F40E9FFA-BE27-435E-84C2-5C7A3D7CF608}" srcOrd="0" destOrd="0" presId="urn:microsoft.com/office/officeart/2005/8/layout/cycle6"/>
    <dgm:cxn modelId="{3EAB3918-047B-41EF-BC73-8215B377BB29}" type="presOf" srcId="{50612E42-D822-4543-9BBC-89C82AC2CD35}" destId="{ED1F5358-6AA3-4E8F-907C-AC98865A95F7}" srcOrd="0" destOrd="0" presId="urn:microsoft.com/office/officeart/2005/8/layout/cycle6"/>
    <dgm:cxn modelId="{EC78C719-9DEB-499D-869D-3CBAE5F777EC}" type="presOf" srcId="{1299ED51-E89B-4C2E-A7B2-6F903CE1E747}" destId="{FCF835F6-EDC4-448F-8D28-60DF35A75E46}" srcOrd="0" destOrd="0" presId="urn:microsoft.com/office/officeart/2005/8/layout/cycle6"/>
    <dgm:cxn modelId="{FF2BF522-CBD7-4CFB-A47C-2B319B7133F6}" srcId="{C5B2CB79-117B-408D-94D0-A59B51B362C6}" destId="{B06EB18F-36BA-4627-BA26-CCF0586C4A74}" srcOrd="0" destOrd="0" parTransId="{DED6AF0A-9A04-4ED9-872B-8212385BDBD8}" sibTransId="{F2B56AF8-7647-4FC2-8D01-40A75CFC6497}"/>
    <dgm:cxn modelId="{AA565629-FD43-4A45-A0A5-5E6840846AD0}" type="presOf" srcId="{859C5616-21F7-4624-B2DD-7224EA4E34A3}" destId="{05244729-8F86-4C6C-A4BA-22C363FD2B3A}" srcOrd="0" destOrd="0" presId="urn:microsoft.com/office/officeart/2005/8/layout/cycle6"/>
    <dgm:cxn modelId="{7AB3F130-4F9B-4D60-9012-D778D6472B9C}" type="presOf" srcId="{09D0AE77-7319-49A7-9182-8B093B287346}" destId="{89B6D37C-0F49-4AC3-B7B9-F3974B80EB77}" srcOrd="0" destOrd="0" presId="urn:microsoft.com/office/officeart/2005/8/layout/cycle6"/>
    <dgm:cxn modelId="{6558003C-25F4-4E87-A011-2C386D5CB6D1}" type="presOf" srcId="{E52FBE10-9418-4F36-AB04-2993551957DE}" destId="{C470C674-D1BF-4B55-B167-06D9E74E2994}" srcOrd="0" destOrd="0" presId="urn:microsoft.com/office/officeart/2005/8/layout/cycle6"/>
    <dgm:cxn modelId="{42F7743D-02B9-4956-B951-B113A2EB7E86}" srcId="{C5B2CB79-117B-408D-94D0-A59B51B362C6}" destId="{50612E42-D822-4543-9BBC-89C82AC2CD35}" srcOrd="9" destOrd="0" parTransId="{170BECE5-6136-422F-B01E-2EC062D75C21}" sibTransId="{394E309B-E402-4491-9270-105CBFA77084}"/>
    <dgm:cxn modelId="{8A55E85C-53E4-408E-B52F-7D6E7DD54B94}" type="presOf" srcId="{9E831857-F774-4396-AB22-B1817491ED08}" destId="{568018CE-694D-484B-B5AD-8CE2C58CB284}" srcOrd="0" destOrd="0" presId="urn:microsoft.com/office/officeart/2005/8/layout/cycle6"/>
    <dgm:cxn modelId="{C5120760-373B-464A-81AA-BDEB3511B81E}" srcId="{C5B2CB79-117B-408D-94D0-A59B51B362C6}" destId="{FE48D595-133A-4776-90C7-F4C2A57AF151}" srcOrd="5" destOrd="0" parTransId="{5AA31F27-3A08-4A87-B488-51E52AEF13C0}" sibTransId="{263C0F99-926C-403B-97C4-3BE8DD6E58BA}"/>
    <dgm:cxn modelId="{60E1E34E-111E-4AA2-BF7D-2FCEE838F6EB}" type="presOf" srcId="{16F93960-4DAC-4E30-9838-FE3B91724CE9}" destId="{D45826B3-D8AC-403D-99B5-87C435FAFB34}" srcOrd="0" destOrd="0" presId="urn:microsoft.com/office/officeart/2005/8/layout/cycle6"/>
    <dgm:cxn modelId="{FA7F1B4F-957C-408D-B09B-266C2E99D5D4}" type="presOf" srcId="{024B629F-BCDA-43BB-8753-372CAB3BE9B2}" destId="{59A46632-A5B1-4FAC-97E5-7E419B79DE82}" srcOrd="0" destOrd="0" presId="urn:microsoft.com/office/officeart/2005/8/layout/cycle6"/>
    <dgm:cxn modelId="{54892870-1144-401C-946E-02CBA6CD65AE}" type="presOf" srcId="{394E309B-E402-4491-9270-105CBFA77084}" destId="{8CA0A993-4F86-4669-8237-B5CACCF2F1FC}" srcOrd="0" destOrd="0" presId="urn:microsoft.com/office/officeart/2005/8/layout/cycle6"/>
    <dgm:cxn modelId="{E43DD879-D3E8-4A3E-A50F-E0A9DE0CDB9C}" srcId="{C5B2CB79-117B-408D-94D0-A59B51B362C6}" destId="{859C5616-21F7-4624-B2DD-7224EA4E34A3}" srcOrd="2" destOrd="0" parTransId="{726DF701-2FDD-42C1-8C26-3E7F07D9F32F}" sibTransId="{E9F883B8-7DB4-4FDD-96FE-15DCF71B2760}"/>
    <dgm:cxn modelId="{0A5CB47A-B5AE-43C5-AD50-EFE1FDC708B3}" srcId="{C5B2CB79-117B-408D-94D0-A59B51B362C6}" destId="{16F93960-4DAC-4E30-9838-FE3B91724CE9}" srcOrd="8" destOrd="0" parTransId="{C50D4BC8-6049-41B9-B09F-4B5F268C6047}" sibTransId="{9E831857-F774-4396-AB22-B1817491ED08}"/>
    <dgm:cxn modelId="{7EA2DC7D-76B6-4F1C-8862-AEEFCF26E9C5}" srcId="{C5B2CB79-117B-408D-94D0-A59B51B362C6}" destId="{E52FBE10-9418-4F36-AB04-2993551957DE}" srcOrd="1" destOrd="0" parTransId="{DBC770B1-B23C-4D93-AE28-93C9E5C7137F}" sibTransId="{1299ED51-E89B-4C2E-A7B2-6F903CE1E747}"/>
    <dgm:cxn modelId="{6E5F688C-780C-4586-9430-3C6B8E04BA41}" srcId="{C5B2CB79-117B-408D-94D0-A59B51B362C6}" destId="{24E991DC-696F-475B-9CBA-C1E680AF657F}" srcOrd="4" destOrd="0" parTransId="{12DCCC61-ED36-4B7B-A7F3-30F1FF8B2E87}" sibTransId="{024B629F-BCDA-43BB-8753-372CAB3BE9B2}"/>
    <dgm:cxn modelId="{F63D468F-BB4A-4229-946B-CFB61ECE0BA4}" srcId="{C5B2CB79-117B-408D-94D0-A59B51B362C6}" destId="{362A9C0F-F11F-4268-B105-005EE43DEF54}" srcOrd="6" destOrd="0" parTransId="{DD29DA9C-B78A-4F11-8162-977F5296F5D4}" sibTransId="{73F25698-1746-49C0-9648-DABDB74EC8D8}"/>
    <dgm:cxn modelId="{5C5F0F95-DD0F-485C-9A05-CC13FC1E5252}" type="presOf" srcId="{5A2DDF57-EF58-4362-8E11-AB656D20E89D}" destId="{E98DBE6F-3676-4734-B7AC-B82A0B1E1530}" srcOrd="0" destOrd="0" presId="urn:microsoft.com/office/officeart/2005/8/layout/cycle6"/>
    <dgm:cxn modelId="{2CD926A4-24F5-4852-BACB-ED850DBF53E5}" type="presOf" srcId="{24E991DC-696F-475B-9CBA-C1E680AF657F}" destId="{9A97C6F1-A71B-472A-B695-6E974962BB31}" srcOrd="0" destOrd="0" presId="urn:microsoft.com/office/officeart/2005/8/layout/cycle6"/>
    <dgm:cxn modelId="{30FB60A5-804B-4289-BC34-432D49A83720}" type="presOf" srcId="{FE48D595-133A-4776-90C7-F4C2A57AF151}" destId="{F6179664-DB6D-4830-AA21-00FEC118F284}" srcOrd="0" destOrd="0" presId="urn:microsoft.com/office/officeart/2005/8/layout/cycle6"/>
    <dgm:cxn modelId="{652BA7B5-252C-4588-89EE-CECA3AED4417}" type="presOf" srcId="{8437F18C-D8D2-4E43-A40E-EDADD85A0473}" destId="{3716EE8B-72EA-4CD0-B19A-599F713E2F8B}" srcOrd="0" destOrd="0" presId="urn:microsoft.com/office/officeart/2005/8/layout/cycle6"/>
    <dgm:cxn modelId="{372891C4-B9F0-461B-AEED-7B8502EE4347}" type="presOf" srcId="{B06EB18F-36BA-4627-BA26-CCF0586C4A74}" destId="{8FC8B6E9-55E2-40DF-AB66-7C7733402D9C}" srcOrd="0" destOrd="0" presId="urn:microsoft.com/office/officeart/2005/8/layout/cycle6"/>
    <dgm:cxn modelId="{AF910DC7-A6C1-49A4-A937-D76EDE379264}" srcId="{C5B2CB79-117B-408D-94D0-A59B51B362C6}" destId="{09D0AE77-7319-49A7-9182-8B093B287346}" srcOrd="3" destOrd="0" parTransId="{A2D8829C-FBDB-4477-AEAB-30E91219B526}" sibTransId="{EFCF48B6-DF68-4275-87BB-E47E5CEA3F16}"/>
    <dgm:cxn modelId="{35C625CF-DF1C-45CE-95FE-9C0F26A4B07E}" type="presOf" srcId="{263C0F99-926C-403B-97C4-3BE8DD6E58BA}" destId="{F7A42D6C-7DE8-489A-8D67-137E300DDAE8}" srcOrd="0" destOrd="0" presId="urn:microsoft.com/office/officeart/2005/8/layout/cycle6"/>
    <dgm:cxn modelId="{612179EA-B698-43FE-863A-A0D90D7C999C}" type="presOf" srcId="{73F25698-1746-49C0-9648-DABDB74EC8D8}" destId="{2D475742-4D9B-4204-8278-3C5AA56FD07B}" srcOrd="0" destOrd="0" presId="urn:microsoft.com/office/officeart/2005/8/layout/cycle6"/>
    <dgm:cxn modelId="{B6EDA1F3-B7B1-4C08-AED5-BC675538EAD7}" type="presOf" srcId="{F2B56AF8-7647-4FC2-8D01-40A75CFC6497}" destId="{18048E85-3ADF-4B79-9624-D064E6DCA554}" srcOrd="0" destOrd="0" presId="urn:microsoft.com/office/officeart/2005/8/layout/cycle6"/>
    <dgm:cxn modelId="{91A7FCF4-10D7-4163-AF21-C4F30E0EB346}" srcId="{C5B2CB79-117B-408D-94D0-A59B51B362C6}" destId="{8437F18C-D8D2-4E43-A40E-EDADD85A0473}" srcOrd="7" destOrd="0" parTransId="{0BE7FB49-AFD4-4284-9F25-2F3CD887B30B}" sibTransId="{5A2DDF57-EF58-4362-8E11-AB656D20E89D}"/>
    <dgm:cxn modelId="{FDF12BF8-459F-4400-91C0-6812FEBE49B2}" type="presOf" srcId="{C5B2CB79-117B-408D-94D0-A59B51B362C6}" destId="{DB950FCD-54F6-461A-AD90-CE835C287DEF}" srcOrd="0" destOrd="0" presId="urn:microsoft.com/office/officeart/2005/8/layout/cycle6"/>
    <dgm:cxn modelId="{1F0EC6B7-063A-47CB-9732-47574BD593AD}" type="presParOf" srcId="{DB950FCD-54F6-461A-AD90-CE835C287DEF}" destId="{8FC8B6E9-55E2-40DF-AB66-7C7733402D9C}" srcOrd="0" destOrd="0" presId="urn:microsoft.com/office/officeart/2005/8/layout/cycle6"/>
    <dgm:cxn modelId="{C3267F42-C07D-46FD-A370-7D6D057ADAAA}" type="presParOf" srcId="{DB950FCD-54F6-461A-AD90-CE835C287DEF}" destId="{C32DDB4B-7C00-4B9F-BEAC-3F9650451B2F}" srcOrd="1" destOrd="0" presId="urn:microsoft.com/office/officeart/2005/8/layout/cycle6"/>
    <dgm:cxn modelId="{980C0015-6454-4F5C-BAF3-1C73D2A173A4}" type="presParOf" srcId="{DB950FCD-54F6-461A-AD90-CE835C287DEF}" destId="{18048E85-3ADF-4B79-9624-D064E6DCA554}" srcOrd="2" destOrd="0" presId="urn:microsoft.com/office/officeart/2005/8/layout/cycle6"/>
    <dgm:cxn modelId="{66384F91-31C2-45D6-BE97-0C84813D2776}" type="presParOf" srcId="{DB950FCD-54F6-461A-AD90-CE835C287DEF}" destId="{C470C674-D1BF-4B55-B167-06D9E74E2994}" srcOrd="3" destOrd="0" presId="urn:microsoft.com/office/officeart/2005/8/layout/cycle6"/>
    <dgm:cxn modelId="{BD79AF97-B0B4-4F52-9AEC-FAFCAD1A4D88}" type="presParOf" srcId="{DB950FCD-54F6-461A-AD90-CE835C287DEF}" destId="{6A64FDBF-489D-4C1F-8AAF-5DD1562EDC2B}" srcOrd="4" destOrd="0" presId="urn:microsoft.com/office/officeart/2005/8/layout/cycle6"/>
    <dgm:cxn modelId="{72EFE55B-9377-4792-9FAC-65DDBAFAA5D1}" type="presParOf" srcId="{DB950FCD-54F6-461A-AD90-CE835C287DEF}" destId="{FCF835F6-EDC4-448F-8D28-60DF35A75E46}" srcOrd="5" destOrd="0" presId="urn:microsoft.com/office/officeart/2005/8/layout/cycle6"/>
    <dgm:cxn modelId="{3883378D-91EB-4100-B46E-041C38E40CC2}" type="presParOf" srcId="{DB950FCD-54F6-461A-AD90-CE835C287DEF}" destId="{05244729-8F86-4C6C-A4BA-22C363FD2B3A}" srcOrd="6" destOrd="0" presId="urn:microsoft.com/office/officeart/2005/8/layout/cycle6"/>
    <dgm:cxn modelId="{4D2D3BB3-F55B-4362-BB7E-050A6582DEEE}" type="presParOf" srcId="{DB950FCD-54F6-461A-AD90-CE835C287DEF}" destId="{46875B9A-83A9-4B17-8AE9-94B1CF3CF4CF}" srcOrd="7" destOrd="0" presId="urn:microsoft.com/office/officeart/2005/8/layout/cycle6"/>
    <dgm:cxn modelId="{B8D4F1A2-FBA9-43C7-B7B5-9C79BCB2E1AA}" type="presParOf" srcId="{DB950FCD-54F6-461A-AD90-CE835C287DEF}" destId="{F40E9FFA-BE27-435E-84C2-5C7A3D7CF608}" srcOrd="8" destOrd="0" presId="urn:microsoft.com/office/officeart/2005/8/layout/cycle6"/>
    <dgm:cxn modelId="{E53A4130-0222-4968-B938-89D474700E69}" type="presParOf" srcId="{DB950FCD-54F6-461A-AD90-CE835C287DEF}" destId="{89B6D37C-0F49-4AC3-B7B9-F3974B80EB77}" srcOrd="9" destOrd="0" presId="urn:microsoft.com/office/officeart/2005/8/layout/cycle6"/>
    <dgm:cxn modelId="{75E5C3F9-CC03-43CC-B299-AD6BE86967EE}" type="presParOf" srcId="{DB950FCD-54F6-461A-AD90-CE835C287DEF}" destId="{983771CE-4C0B-4B16-9E37-32FD40333DA9}" srcOrd="10" destOrd="0" presId="urn:microsoft.com/office/officeart/2005/8/layout/cycle6"/>
    <dgm:cxn modelId="{BC999555-C993-4DA1-B568-A241CF3FEF76}" type="presParOf" srcId="{DB950FCD-54F6-461A-AD90-CE835C287DEF}" destId="{789D6A88-5C69-43C2-9EC5-3C9C14CD22BC}" srcOrd="11" destOrd="0" presId="urn:microsoft.com/office/officeart/2005/8/layout/cycle6"/>
    <dgm:cxn modelId="{D570AFD4-D7F5-4E92-B24F-234587563758}" type="presParOf" srcId="{DB950FCD-54F6-461A-AD90-CE835C287DEF}" destId="{9A97C6F1-A71B-472A-B695-6E974962BB31}" srcOrd="12" destOrd="0" presId="urn:microsoft.com/office/officeart/2005/8/layout/cycle6"/>
    <dgm:cxn modelId="{58F60A44-DFFF-4780-8810-4E96AA190706}" type="presParOf" srcId="{DB950FCD-54F6-461A-AD90-CE835C287DEF}" destId="{C5210565-EC9E-4164-B2DD-9F165E6D32B0}" srcOrd="13" destOrd="0" presId="urn:microsoft.com/office/officeart/2005/8/layout/cycle6"/>
    <dgm:cxn modelId="{7E559B60-8A63-4393-9DD7-B9C43F026DEA}" type="presParOf" srcId="{DB950FCD-54F6-461A-AD90-CE835C287DEF}" destId="{59A46632-A5B1-4FAC-97E5-7E419B79DE82}" srcOrd="14" destOrd="0" presId="urn:microsoft.com/office/officeart/2005/8/layout/cycle6"/>
    <dgm:cxn modelId="{FF321B36-D884-488D-AA23-ABAF6D109419}" type="presParOf" srcId="{DB950FCD-54F6-461A-AD90-CE835C287DEF}" destId="{F6179664-DB6D-4830-AA21-00FEC118F284}" srcOrd="15" destOrd="0" presId="urn:microsoft.com/office/officeart/2005/8/layout/cycle6"/>
    <dgm:cxn modelId="{B59C4619-DB69-4919-AFF9-0ECD101E00A1}" type="presParOf" srcId="{DB950FCD-54F6-461A-AD90-CE835C287DEF}" destId="{49B874BC-0B99-484E-8823-80EDC7A9D2A3}" srcOrd="16" destOrd="0" presId="urn:microsoft.com/office/officeart/2005/8/layout/cycle6"/>
    <dgm:cxn modelId="{2EF3EA51-B125-4F20-BBED-7BB201B65BF5}" type="presParOf" srcId="{DB950FCD-54F6-461A-AD90-CE835C287DEF}" destId="{F7A42D6C-7DE8-489A-8D67-137E300DDAE8}" srcOrd="17" destOrd="0" presId="urn:microsoft.com/office/officeart/2005/8/layout/cycle6"/>
    <dgm:cxn modelId="{205EFA8B-A5A0-4422-BBB7-394FBCCD7AAF}" type="presParOf" srcId="{DB950FCD-54F6-461A-AD90-CE835C287DEF}" destId="{1C8294A5-9F04-4E33-A60E-B8E7319403E6}" srcOrd="18" destOrd="0" presId="urn:microsoft.com/office/officeart/2005/8/layout/cycle6"/>
    <dgm:cxn modelId="{DFF8939C-18E0-4A24-978A-061B0E2823CC}" type="presParOf" srcId="{DB950FCD-54F6-461A-AD90-CE835C287DEF}" destId="{254D675E-DA13-4FE1-93C6-A646BC9007DD}" srcOrd="19" destOrd="0" presId="urn:microsoft.com/office/officeart/2005/8/layout/cycle6"/>
    <dgm:cxn modelId="{D0691287-5339-46DD-852C-E932DDF7FB79}" type="presParOf" srcId="{DB950FCD-54F6-461A-AD90-CE835C287DEF}" destId="{2D475742-4D9B-4204-8278-3C5AA56FD07B}" srcOrd="20" destOrd="0" presId="urn:microsoft.com/office/officeart/2005/8/layout/cycle6"/>
    <dgm:cxn modelId="{D3A2C9FF-FB72-4A74-BA8D-694C53EF6BC7}" type="presParOf" srcId="{DB950FCD-54F6-461A-AD90-CE835C287DEF}" destId="{3716EE8B-72EA-4CD0-B19A-599F713E2F8B}" srcOrd="21" destOrd="0" presId="urn:microsoft.com/office/officeart/2005/8/layout/cycle6"/>
    <dgm:cxn modelId="{96426C87-60E1-4003-ACB0-512340E0093D}" type="presParOf" srcId="{DB950FCD-54F6-461A-AD90-CE835C287DEF}" destId="{01A1F55E-21F6-40B1-8F86-44F43AA8B1A4}" srcOrd="22" destOrd="0" presId="urn:microsoft.com/office/officeart/2005/8/layout/cycle6"/>
    <dgm:cxn modelId="{41C51F74-99F2-4D0A-9998-DF7280D16633}" type="presParOf" srcId="{DB950FCD-54F6-461A-AD90-CE835C287DEF}" destId="{E98DBE6F-3676-4734-B7AC-B82A0B1E1530}" srcOrd="23" destOrd="0" presId="urn:microsoft.com/office/officeart/2005/8/layout/cycle6"/>
    <dgm:cxn modelId="{FAA79CB3-BF0E-417D-8212-E3211624E575}" type="presParOf" srcId="{DB950FCD-54F6-461A-AD90-CE835C287DEF}" destId="{D45826B3-D8AC-403D-99B5-87C435FAFB34}" srcOrd="24" destOrd="0" presId="urn:microsoft.com/office/officeart/2005/8/layout/cycle6"/>
    <dgm:cxn modelId="{128DCBB0-B37D-480D-A0B8-89424E98A81A}" type="presParOf" srcId="{DB950FCD-54F6-461A-AD90-CE835C287DEF}" destId="{32665907-3E70-47A7-8F1E-AB79D7704B1F}" srcOrd="25" destOrd="0" presId="urn:microsoft.com/office/officeart/2005/8/layout/cycle6"/>
    <dgm:cxn modelId="{FAD1466E-A782-481C-9247-28E8C76B4A00}" type="presParOf" srcId="{DB950FCD-54F6-461A-AD90-CE835C287DEF}" destId="{568018CE-694D-484B-B5AD-8CE2C58CB284}" srcOrd="26" destOrd="0" presId="urn:microsoft.com/office/officeart/2005/8/layout/cycle6"/>
    <dgm:cxn modelId="{12786EEC-24F9-47D8-8291-E33A971402CA}" type="presParOf" srcId="{DB950FCD-54F6-461A-AD90-CE835C287DEF}" destId="{ED1F5358-6AA3-4E8F-907C-AC98865A95F7}" srcOrd="27" destOrd="0" presId="urn:microsoft.com/office/officeart/2005/8/layout/cycle6"/>
    <dgm:cxn modelId="{A34EE795-3507-432B-AF0E-560BADF02905}" type="presParOf" srcId="{DB950FCD-54F6-461A-AD90-CE835C287DEF}" destId="{7669DB5E-ED8E-4A3F-905F-C986512730A8}" srcOrd="28" destOrd="0" presId="urn:microsoft.com/office/officeart/2005/8/layout/cycle6"/>
    <dgm:cxn modelId="{CBD8F5F3-CB6E-4FCA-B185-2D7152ECC403}" type="presParOf" srcId="{DB950FCD-54F6-461A-AD90-CE835C287DEF}" destId="{8CA0A993-4F86-4669-8237-B5CACCF2F1FC}" srcOrd="29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0EB03F-8FA0-4E90-9BE1-2D45C7DE989F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B95B3175-2182-454E-9487-5905782C0C67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1</a:t>
          </a:r>
          <a:endParaRPr lang="en-US" sz="1000" b="0" dirty="0">
            <a:latin typeface="+mn-lt"/>
            <a:ea typeface="+mn-ea"/>
          </a:endParaRPr>
        </a:p>
      </dgm:t>
    </dgm:pt>
    <dgm:pt modelId="{CD3908E7-50A1-4E1B-B00D-AAF0CE54647F}" cxnId="{BB546E43-910B-4144-ACCD-921B35FCF46F}" type="parTrans">
      <dgm:prSet/>
      <dgm:spPr/>
      <dgm:t>
        <a:bodyPr/>
        <a:lstStyle/>
        <a:p>
          <a:endParaRPr lang="en-US"/>
        </a:p>
      </dgm:t>
    </dgm:pt>
    <dgm:pt modelId="{EA8F6248-7046-42FF-BE56-F6BFDFD25B7A}" cxnId="{BB546E43-910B-4144-ACCD-921B35FCF46F}" type="sibTrans">
      <dgm:prSet/>
      <dgm:spPr/>
      <dgm:t>
        <a:bodyPr/>
        <a:lstStyle/>
        <a:p>
          <a:endParaRPr lang="en-US"/>
        </a:p>
      </dgm:t>
    </dgm:pt>
    <dgm:pt modelId="{8F1FC1A6-A5E7-4EB1-80C7-938965480C4D}">
      <dgm:prSet phldrT="[Text]" custT="1"/>
      <dgm:spPr>
        <a:noFill/>
        <a:ln>
          <a:solidFill>
            <a:srgbClr val="0046FF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2</a:t>
          </a:r>
          <a:endParaRPr lang="en-US" sz="1000" b="0" dirty="0">
            <a:latin typeface="+mn-lt"/>
            <a:ea typeface="+mn-ea"/>
          </a:endParaRPr>
        </a:p>
      </dgm:t>
    </dgm:pt>
    <dgm:pt modelId="{5E1560A8-98AD-4C47-8146-90751A3325FF}" cxnId="{80819DFC-EF7B-4005-B1DC-F4762AE5205B}" type="parTrans">
      <dgm:prSet/>
      <dgm:spPr/>
      <dgm:t>
        <a:bodyPr/>
        <a:lstStyle/>
        <a:p>
          <a:endParaRPr lang="en-US"/>
        </a:p>
      </dgm:t>
    </dgm:pt>
    <dgm:pt modelId="{2D463E74-5C24-427C-B36F-E7F3C9C61C3D}" cxnId="{80819DFC-EF7B-4005-B1DC-F4762AE5205B}" type="sibTrans">
      <dgm:prSet/>
      <dgm:spPr/>
      <dgm:t>
        <a:bodyPr/>
        <a:lstStyle/>
        <a:p>
          <a:endParaRPr lang="en-US"/>
        </a:p>
      </dgm:t>
    </dgm:pt>
    <dgm:pt modelId="{3798679C-1BC8-4E12-AED8-E9D06208829F}">
      <dgm:prSet phldrT="[Text]" custT="1"/>
      <dgm:spPr>
        <a:noFill/>
        <a:ln>
          <a:solidFill>
            <a:srgbClr val="5FF9FF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4</a:t>
          </a:r>
          <a:endParaRPr lang="en-US" sz="1000" b="0" dirty="0">
            <a:latin typeface="+mn-lt"/>
            <a:ea typeface="+mn-ea"/>
          </a:endParaRPr>
        </a:p>
      </dgm:t>
    </dgm:pt>
    <dgm:pt modelId="{05ABD5E0-3DF3-4D01-91B0-C08983A7C95B}" cxnId="{9F58BA81-DC89-47A1-A9CE-01A22FD81EE6}" type="parTrans">
      <dgm:prSet/>
      <dgm:spPr/>
      <dgm:t>
        <a:bodyPr/>
        <a:lstStyle/>
        <a:p>
          <a:endParaRPr lang="en-US"/>
        </a:p>
      </dgm:t>
    </dgm:pt>
    <dgm:pt modelId="{C7B31025-EF79-4D00-939C-9B25459E57E6}" cxnId="{9F58BA81-DC89-47A1-A9CE-01A22FD81EE6}" type="sibTrans">
      <dgm:prSet/>
      <dgm:spPr/>
      <dgm:t>
        <a:bodyPr/>
        <a:lstStyle/>
        <a:p>
          <a:endParaRPr lang="en-US"/>
        </a:p>
      </dgm:t>
    </dgm:pt>
    <dgm:pt modelId="{5FCF44FC-6390-41AB-BF06-1E8249C9310D}">
      <dgm:prSet phldrT="[Text]" custT="1"/>
      <dgm:spPr>
        <a:noFill/>
        <a:ln>
          <a:solidFill>
            <a:schemeClr val="accent2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3</a:t>
          </a:r>
          <a:endParaRPr lang="en-US" sz="1000" b="0" dirty="0">
            <a:latin typeface="+mn-lt"/>
            <a:ea typeface="+mn-ea"/>
          </a:endParaRPr>
        </a:p>
      </dgm:t>
    </dgm:pt>
    <dgm:pt modelId="{075A0E31-AB5F-4440-9B46-6B78064521D1}" cxnId="{16C41F0D-DC36-46ED-BD5F-D0CAC081B737}" type="parTrans">
      <dgm:prSet/>
      <dgm:spPr/>
      <dgm:t>
        <a:bodyPr/>
        <a:lstStyle/>
        <a:p>
          <a:endParaRPr lang="en-US"/>
        </a:p>
      </dgm:t>
    </dgm:pt>
    <dgm:pt modelId="{CD9506AA-E7BC-4E68-98ED-FE2D441AB4CF}" cxnId="{16C41F0D-DC36-46ED-BD5F-D0CAC081B737}" type="sibTrans">
      <dgm:prSet/>
      <dgm:spPr/>
      <dgm:t>
        <a:bodyPr/>
        <a:lstStyle/>
        <a:p>
          <a:endParaRPr lang="en-US"/>
        </a:p>
      </dgm:t>
    </dgm:pt>
    <dgm:pt modelId="{CADA9108-DA68-48B1-90C4-B4E06F26B27C}">
      <dgm:prSet phldrT="[Text]" custT="1"/>
      <dgm:spPr>
        <a:solidFill>
          <a:schemeClr val="accent1">
            <a:alpha val="99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 eaLnBrk="1"/>
          <a:r>
            <a:rPr lang="zh-CN" altLang="en-US" sz="1000" b="0" dirty="0">
              <a:solidFill>
                <a:schemeClr val="bg2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bg2"/>
              </a:solidFill>
              <a:latin typeface="+mn-lt"/>
              <a:ea typeface="+mn-ea"/>
            </a:rPr>
            <a:t>5</a:t>
          </a:r>
          <a:endParaRPr lang="en-US" sz="1000" b="0" dirty="0">
            <a:solidFill>
              <a:schemeClr val="bg2"/>
            </a:solidFill>
            <a:latin typeface="+mn-lt"/>
            <a:ea typeface="+mn-ea"/>
          </a:endParaRPr>
        </a:p>
      </dgm:t>
    </dgm:pt>
    <dgm:pt modelId="{378975AA-3AF8-492B-80CD-BB3BFC4C1D2E}" cxnId="{6114ABF9-31D3-4F45-9050-8C02FD1227C2}" type="parTrans">
      <dgm:prSet/>
      <dgm:spPr/>
      <dgm:t>
        <a:bodyPr/>
        <a:lstStyle/>
        <a:p>
          <a:endParaRPr lang="en-US"/>
        </a:p>
      </dgm:t>
    </dgm:pt>
    <dgm:pt modelId="{3F23220B-A438-4DCA-9124-09BB7B961F38}" cxnId="{6114ABF9-31D3-4F45-9050-8C02FD1227C2}" type="sibTrans">
      <dgm:prSet/>
      <dgm:spPr/>
      <dgm:t>
        <a:bodyPr/>
        <a:lstStyle/>
        <a:p>
          <a:endParaRPr lang="en-US"/>
        </a:p>
      </dgm:t>
    </dgm:pt>
    <dgm:pt modelId="{F3B09A13-62A7-4537-85D8-9C8BEE7E6518}" type="pres">
      <dgm:prSet presAssocID="{AF0EB03F-8FA0-4E90-9BE1-2D45C7DE989F}" presName="Name0" presStyleCnt="0">
        <dgm:presLayoutVars>
          <dgm:dir/>
          <dgm:animLvl val="lvl"/>
          <dgm:resizeHandles val="exact"/>
        </dgm:presLayoutVars>
      </dgm:prSet>
      <dgm:spPr/>
    </dgm:pt>
    <dgm:pt modelId="{1689C374-97C1-4BAB-8B10-A7C377411ACA}" type="pres">
      <dgm:prSet presAssocID="{B95B3175-2182-454E-9487-5905782C0C67}" presName="Name8" presStyleCnt="0"/>
      <dgm:spPr/>
    </dgm:pt>
    <dgm:pt modelId="{A333A9C2-D660-4D88-A0D2-68E68F92BDA3}" type="pres">
      <dgm:prSet presAssocID="{B95B3175-2182-454E-9487-5905782C0C67}" presName="level" presStyleLbl="node1" presStyleIdx="0" presStyleCnt="5">
        <dgm:presLayoutVars>
          <dgm:chMax val="1"/>
          <dgm:bulletEnabled val="1"/>
        </dgm:presLayoutVars>
      </dgm:prSet>
      <dgm:spPr/>
    </dgm:pt>
    <dgm:pt modelId="{3CCB7EAD-7E35-4EF7-BCD0-A28F2A92D5E4}" type="pres">
      <dgm:prSet presAssocID="{B95B3175-2182-454E-9487-5905782C0C6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4820C20-9D36-4612-902F-CEABC1D4F7C8}" type="pres">
      <dgm:prSet presAssocID="{8F1FC1A6-A5E7-4EB1-80C7-938965480C4D}" presName="Name8" presStyleCnt="0"/>
      <dgm:spPr/>
    </dgm:pt>
    <dgm:pt modelId="{E64D5911-C055-4780-A124-2EC964666F62}" type="pres">
      <dgm:prSet presAssocID="{8F1FC1A6-A5E7-4EB1-80C7-938965480C4D}" presName="level" presStyleLbl="node1" presStyleIdx="1" presStyleCnt="5">
        <dgm:presLayoutVars>
          <dgm:chMax val="1"/>
          <dgm:bulletEnabled val="1"/>
        </dgm:presLayoutVars>
      </dgm:prSet>
      <dgm:spPr/>
    </dgm:pt>
    <dgm:pt modelId="{C039D620-023E-4999-85F6-B119C0295137}" type="pres">
      <dgm:prSet presAssocID="{8F1FC1A6-A5E7-4EB1-80C7-938965480C4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BCF184D-3953-4569-87C9-00E27B33A1D0}" type="pres">
      <dgm:prSet presAssocID="{5FCF44FC-6390-41AB-BF06-1E8249C9310D}" presName="Name8" presStyleCnt="0"/>
      <dgm:spPr/>
    </dgm:pt>
    <dgm:pt modelId="{53077FF9-6876-4110-9E03-B974EE4A6039}" type="pres">
      <dgm:prSet presAssocID="{5FCF44FC-6390-41AB-BF06-1E8249C9310D}" presName="level" presStyleLbl="node1" presStyleIdx="2" presStyleCnt="5">
        <dgm:presLayoutVars>
          <dgm:chMax val="1"/>
          <dgm:bulletEnabled val="1"/>
        </dgm:presLayoutVars>
      </dgm:prSet>
      <dgm:spPr/>
    </dgm:pt>
    <dgm:pt modelId="{6D3B77B9-4421-4F12-9895-11C2673D6002}" type="pres">
      <dgm:prSet presAssocID="{5FCF44FC-6390-41AB-BF06-1E8249C9310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841C6BA-9B52-488C-A8E0-25C0EC86565B}" type="pres">
      <dgm:prSet presAssocID="{3798679C-1BC8-4E12-AED8-E9D06208829F}" presName="Name8" presStyleCnt="0"/>
      <dgm:spPr/>
    </dgm:pt>
    <dgm:pt modelId="{217FE5F7-91D7-4C51-A51D-306650A6C51F}" type="pres">
      <dgm:prSet presAssocID="{3798679C-1BC8-4E12-AED8-E9D06208829F}" presName="level" presStyleLbl="node1" presStyleIdx="3" presStyleCnt="5">
        <dgm:presLayoutVars>
          <dgm:chMax val="1"/>
          <dgm:bulletEnabled val="1"/>
        </dgm:presLayoutVars>
      </dgm:prSet>
      <dgm:spPr/>
    </dgm:pt>
    <dgm:pt modelId="{06EFB117-B174-42A0-B7C1-4051C5EF85E3}" type="pres">
      <dgm:prSet presAssocID="{3798679C-1BC8-4E12-AED8-E9D06208829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31C065-5418-42C5-963A-1576AB5B7ECF}" type="pres">
      <dgm:prSet presAssocID="{CADA9108-DA68-48B1-90C4-B4E06F26B27C}" presName="Name8" presStyleCnt="0"/>
      <dgm:spPr/>
    </dgm:pt>
    <dgm:pt modelId="{80DACBE6-9C5D-4BE8-91C0-8925F0F2E228}" type="pres">
      <dgm:prSet presAssocID="{CADA9108-DA68-48B1-90C4-B4E06F26B27C}" presName="level" presStyleLbl="node1" presStyleIdx="4" presStyleCnt="5">
        <dgm:presLayoutVars>
          <dgm:chMax val="1"/>
          <dgm:bulletEnabled val="1"/>
        </dgm:presLayoutVars>
      </dgm:prSet>
      <dgm:spPr/>
    </dgm:pt>
    <dgm:pt modelId="{A4E72D31-7A2E-4CA5-92D5-2AB01DE0B716}" type="pres">
      <dgm:prSet presAssocID="{CADA9108-DA68-48B1-90C4-B4E06F26B27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3CF08-81F1-4F2F-A9A9-9D2E3BAD5856}" type="presOf" srcId="{CADA9108-DA68-48B1-90C4-B4E06F26B27C}" destId="{80DACBE6-9C5D-4BE8-91C0-8925F0F2E228}" srcOrd="0" destOrd="0" presId="urn:microsoft.com/office/officeart/2005/8/layout/pyramid3"/>
    <dgm:cxn modelId="{16C41F0D-DC36-46ED-BD5F-D0CAC081B737}" srcId="{AF0EB03F-8FA0-4E90-9BE1-2D45C7DE989F}" destId="{5FCF44FC-6390-41AB-BF06-1E8249C9310D}" srcOrd="2" destOrd="0" parTransId="{075A0E31-AB5F-4440-9B46-6B78064521D1}" sibTransId="{CD9506AA-E7BC-4E68-98ED-FE2D441AB4CF}"/>
    <dgm:cxn modelId="{906CA918-CA0A-465F-9B55-61930AD8825A}" type="presOf" srcId="{3798679C-1BC8-4E12-AED8-E9D06208829F}" destId="{06EFB117-B174-42A0-B7C1-4051C5EF85E3}" srcOrd="1" destOrd="0" presId="urn:microsoft.com/office/officeart/2005/8/layout/pyramid3"/>
    <dgm:cxn modelId="{9D420D37-899E-43CA-AB78-D2EA5A41695F}" type="presOf" srcId="{5FCF44FC-6390-41AB-BF06-1E8249C9310D}" destId="{53077FF9-6876-4110-9E03-B974EE4A6039}" srcOrd="0" destOrd="0" presId="urn:microsoft.com/office/officeart/2005/8/layout/pyramid3"/>
    <dgm:cxn modelId="{BB546E43-910B-4144-ACCD-921B35FCF46F}" srcId="{AF0EB03F-8FA0-4E90-9BE1-2D45C7DE989F}" destId="{B95B3175-2182-454E-9487-5905782C0C67}" srcOrd="0" destOrd="0" parTransId="{CD3908E7-50A1-4E1B-B00D-AAF0CE54647F}" sibTransId="{EA8F6248-7046-42FF-BE56-F6BFDFD25B7A}"/>
    <dgm:cxn modelId="{17862569-3B45-4058-8E98-643F2E45E20B}" type="presOf" srcId="{AF0EB03F-8FA0-4E90-9BE1-2D45C7DE989F}" destId="{F3B09A13-62A7-4537-85D8-9C8BEE7E6518}" srcOrd="0" destOrd="0" presId="urn:microsoft.com/office/officeart/2005/8/layout/pyramid3"/>
    <dgm:cxn modelId="{A928456B-89E2-4ACB-97E8-85C5661F9103}" type="presOf" srcId="{5FCF44FC-6390-41AB-BF06-1E8249C9310D}" destId="{6D3B77B9-4421-4F12-9895-11C2673D6002}" srcOrd="1" destOrd="0" presId="urn:microsoft.com/office/officeart/2005/8/layout/pyramid3"/>
    <dgm:cxn modelId="{9F58BA81-DC89-47A1-A9CE-01A22FD81EE6}" srcId="{AF0EB03F-8FA0-4E90-9BE1-2D45C7DE989F}" destId="{3798679C-1BC8-4E12-AED8-E9D06208829F}" srcOrd="3" destOrd="0" parTransId="{05ABD5E0-3DF3-4D01-91B0-C08983A7C95B}" sibTransId="{C7B31025-EF79-4D00-939C-9B25459E57E6}"/>
    <dgm:cxn modelId="{C841098C-130A-49F0-BB07-DB57AD72F51A}" type="presOf" srcId="{3798679C-1BC8-4E12-AED8-E9D06208829F}" destId="{217FE5F7-91D7-4C51-A51D-306650A6C51F}" srcOrd="0" destOrd="0" presId="urn:microsoft.com/office/officeart/2005/8/layout/pyramid3"/>
    <dgm:cxn modelId="{A302AA95-CAFD-4727-811B-2B08E21D17B7}" type="presOf" srcId="{CADA9108-DA68-48B1-90C4-B4E06F26B27C}" destId="{A4E72D31-7A2E-4CA5-92D5-2AB01DE0B716}" srcOrd="1" destOrd="0" presId="urn:microsoft.com/office/officeart/2005/8/layout/pyramid3"/>
    <dgm:cxn modelId="{D96279B1-2052-475F-9DFA-AFAF08C2DD09}" type="presOf" srcId="{B95B3175-2182-454E-9487-5905782C0C67}" destId="{A333A9C2-D660-4D88-A0D2-68E68F92BDA3}" srcOrd="0" destOrd="0" presId="urn:microsoft.com/office/officeart/2005/8/layout/pyramid3"/>
    <dgm:cxn modelId="{CAFFC7B7-A019-4440-A20E-7AE72BB4F71C}" type="presOf" srcId="{B95B3175-2182-454E-9487-5905782C0C67}" destId="{3CCB7EAD-7E35-4EF7-BCD0-A28F2A92D5E4}" srcOrd="1" destOrd="0" presId="urn:microsoft.com/office/officeart/2005/8/layout/pyramid3"/>
    <dgm:cxn modelId="{A29783CA-2A48-4736-B950-C2FF8603D010}" type="presOf" srcId="{8F1FC1A6-A5E7-4EB1-80C7-938965480C4D}" destId="{E64D5911-C055-4780-A124-2EC964666F62}" srcOrd="0" destOrd="0" presId="urn:microsoft.com/office/officeart/2005/8/layout/pyramid3"/>
    <dgm:cxn modelId="{5F0C49F3-A28C-4790-86AC-A27C5293507A}" type="presOf" srcId="{8F1FC1A6-A5E7-4EB1-80C7-938965480C4D}" destId="{C039D620-023E-4999-85F6-B119C0295137}" srcOrd="1" destOrd="0" presId="urn:microsoft.com/office/officeart/2005/8/layout/pyramid3"/>
    <dgm:cxn modelId="{6114ABF9-31D3-4F45-9050-8C02FD1227C2}" srcId="{AF0EB03F-8FA0-4E90-9BE1-2D45C7DE989F}" destId="{CADA9108-DA68-48B1-90C4-B4E06F26B27C}" srcOrd="4" destOrd="0" parTransId="{378975AA-3AF8-492B-80CD-BB3BFC4C1D2E}" sibTransId="{3F23220B-A438-4DCA-9124-09BB7B961F38}"/>
    <dgm:cxn modelId="{80819DFC-EF7B-4005-B1DC-F4762AE5205B}" srcId="{AF0EB03F-8FA0-4E90-9BE1-2D45C7DE989F}" destId="{8F1FC1A6-A5E7-4EB1-80C7-938965480C4D}" srcOrd="1" destOrd="0" parTransId="{5E1560A8-98AD-4C47-8146-90751A3325FF}" sibTransId="{2D463E74-5C24-427C-B36F-E7F3C9C61C3D}"/>
    <dgm:cxn modelId="{9056031D-22F6-4B11-BA1E-BFC7A9D7974D}" type="presParOf" srcId="{F3B09A13-62A7-4537-85D8-9C8BEE7E6518}" destId="{1689C374-97C1-4BAB-8B10-A7C377411ACA}" srcOrd="0" destOrd="0" presId="urn:microsoft.com/office/officeart/2005/8/layout/pyramid3"/>
    <dgm:cxn modelId="{2CA28FDB-C306-47F7-B739-6D83E7797FF1}" type="presParOf" srcId="{1689C374-97C1-4BAB-8B10-A7C377411ACA}" destId="{A333A9C2-D660-4D88-A0D2-68E68F92BDA3}" srcOrd="0" destOrd="0" presId="urn:microsoft.com/office/officeart/2005/8/layout/pyramid3"/>
    <dgm:cxn modelId="{83F792C1-3289-4D94-908A-B165250B7D88}" type="presParOf" srcId="{1689C374-97C1-4BAB-8B10-A7C377411ACA}" destId="{3CCB7EAD-7E35-4EF7-BCD0-A28F2A92D5E4}" srcOrd="1" destOrd="0" presId="urn:microsoft.com/office/officeart/2005/8/layout/pyramid3"/>
    <dgm:cxn modelId="{CF006006-6CAC-4793-900B-FE309ACE4A65}" type="presParOf" srcId="{F3B09A13-62A7-4537-85D8-9C8BEE7E6518}" destId="{C4820C20-9D36-4612-902F-CEABC1D4F7C8}" srcOrd="1" destOrd="0" presId="urn:microsoft.com/office/officeart/2005/8/layout/pyramid3"/>
    <dgm:cxn modelId="{48FD25F3-F08E-4775-8CEE-EF263A502284}" type="presParOf" srcId="{C4820C20-9D36-4612-902F-CEABC1D4F7C8}" destId="{E64D5911-C055-4780-A124-2EC964666F62}" srcOrd="0" destOrd="0" presId="urn:microsoft.com/office/officeart/2005/8/layout/pyramid3"/>
    <dgm:cxn modelId="{26CDFCF7-13DC-46DB-ADBE-EDFA9009A770}" type="presParOf" srcId="{C4820C20-9D36-4612-902F-CEABC1D4F7C8}" destId="{C039D620-023E-4999-85F6-B119C0295137}" srcOrd="1" destOrd="0" presId="urn:microsoft.com/office/officeart/2005/8/layout/pyramid3"/>
    <dgm:cxn modelId="{30DDC6C6-AD5B-4944-AAD7-6D6E688A99CC}" type="presParOf" srcId="{F3B09A13-62A7-4537-85D8-9C8BEE7E6518}" destId="{DBCF184D-3953-4569-87C9-00E27B33A1D0}" srcOrd="2" destOrd="0" presId="urn:microsoft.com/office/officeart/2005/8/layout/pyramid3"/>
    <dgm:cxn modelId="{6878EE5F-5229-47D2-B8AF-5DD740B5A5A0}" type="presParOf" srcId="{DBCF184D-3953-4569-87C9-00E27B33A1D0}" destId="{53077FF9-6876-4110-9E03-B974EE4A6039}" srcOrd="0" destOrd="0" presId="urn:microsoft.com/office/officeart/2005/8/layout/pyramid3"/>
    <dgm:cxn modelId="{6DE95D5D-8F66-4D43-A037-86D126AB7C5E}" type="presParOf" srcId="{DBCF184D-3953-4569-87C9-00E27B33A1D0}" destId="{6D3B77B9-4421-4F12-9895-11C2673D6002}" srcOrd="1" destOrd="0" presId="urn:microsoft.com/office/officeart/2005/8/layout/pyramid3"/>
    <dgm:cxn modelId="{F466631B-E37D-4A0F-9E17-75BA1FCC8DD0}" type="presParOf" srcId="{F3B09A13-62A7-4537-85D8-9C8BEE7E6518}" destId="{4841C6BA-9B52-488C-A8E0-25C0EC86565B}" srcOrd="3" destOrd="0" presId="urn:microsoft.com/office/officeart/2005/8/layout/pyramid3"/>
    <dgm:cxn modelId="{6F114AB7-CE50-4A24-B558-203E81089616}" type="presParOf" srcId="{4841C6BA-9B52-488C-A8E0-25C0EC86565B}" destId="{217FE5F7-91D7-4C51-A51D-306650A6C51F}" srcOrd="0" destOrd="0" presId="urn:microsoft.com/office/officeart/2005/8/layout/pyramid3"/>
    <dgm:cxn modelId="{3B51F43D-F373-4AA7-B7D3-FA8F81AC7639}" type="presParOf" srcId="{4841C6BA-9B52-488C-A8E0-25C0EC86565B}" destId="{06EFB117-B174-42A0-B7C1-4051C5EF85E3}" srcOrd="1" destOrd="0" presId="urn:microsoft.com/office/officeart/2005/8/layout/pyramid3"/>
    <dgm:cxn modelId="{D18078B3-0F5B-4C3C-B72B-3CF5357CFCDB}" type="presParOf" srcId="{F3B09A13-62A7-4537-85D8-9C8BEE7E6518}" destId="{8A31C065-5418-42C5-963A-1576AB5B7ECF}" srcOrd="4" destOrd="0" presId="urn:microsoft.com/office/officeart/2005/8/layout/pyramid3"/>
    <dgm:cxn modelId="{68FF0F17-5AC5-4086-9441-83CD435C5D55}" type="presParOf" srcId="{8A31C065-5418-42C5-963A-1576AB5B7ECF}" destId="{80DACBE6-9C5D-4BE8-91C0-8925F0F2E228}" srcOrd="0" destOrd="0" presId="urn:microsoft.com/office/officeart/2005/8/layout/pyramid3"/>
    <dgm:cxn modelId="{DF242DBF-B06C-44C3-B52D-CDC77CAC3F66}" type="presParOf" srcId="{8A31C065-5418-42C5-963A-1576AB5B7ECF}" destId="{A4E72D31-7A2E-4CA5-92D5-2AB01DE0B716}" srcOrd="1" destOrd="0" presId="urn:microsoft.com/office/officeart/2005/8/layout/pyramid3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6607806" cy="4405204"/>
        <a:chOff x="0" y="0"/>
        <a:chExt cx="6607806" cy="4405204"/>
      </a:xfrm>
    </dsp:grpSpPr>
    <dsp:sp modelId="{8FC8B6E9-55E2-40DF-AB66-7C7733402D9C}">
      <dsp:nvSpPr>
        <dsp:cNvPr id="3" name="矩形 2"/>
        <dsp:cNvSpPr/>
      </dsp:nvSpPr>
      <dsp:spPr bwMode="white">
        <a:xfrm>
          <a:off x="2940258" y="0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一</a:t>
          </a:r>
          <a:endParaRPr lang="en-US" sz="1000" dirty="0">
            <a:solidFill>
              <a:schemeClr val="bg1"/>
            </a:solidFill>
            <a:latin typeface="Noto Sans SC Regular" panose="020B0500000000000000" pitchFamily="34" charset="-122"/>
            <a:ea typeface="Noto Sans SC Regular" panose="020B0500000000000000" pitchFamily="34" charset="-122"/>
          </a:endParaRPr>
        </a:p>
      </dsp:txBody>
      <dsp:txXfrm>
        <a:off x="2940258" y="0"/>
        <a:ext cx="727291" cy="472739"/>
      </dsp:txXfrm>
    </dsp:sp>
    <dsp:sp modelId="{18048E85-3ADF-4B79-9624-D064E6DCA554}">
      <dsp:nvSpPr>
        <dsp:cNvPr id="4" name="弧形 3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6847334"/>
            <a:gd name="adj2" fmla="val 17617491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C470C674-D1BF-4B55-B167-06D9E74E2994}">
      <dsp:nvSpPr>
        <dsp:cNvPr id="5" name="矩形 4"/>
        <dsp:cNvSpPr/>
      </dsp:nvSpPr>
      <dsp:spPr bwMode="white">
        <a:xfrm>
          <a:off x="4095980" y="375517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二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095980" y="375517"/>
        <a:ext cx="727291" cy="472739"/>
      </dsp:txXfrm>
    </dsp:sp>
    <dsp:sp modelId="{FCF835F6-EDC4-448F-8D28-60DF35A75E46}">
      <dsp:nvSpPr>
        <dsp:cNvPr id="6" name="弧形 5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8998745"/>
            <a:gd name="adj2" fmla="val 20064002"/>
          </a:avLst>
        </a:prstGeom>
        <a:ln w="25400">
          <a:noFill/>
          <a:prstDash val="sysDot"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05244729-8F86-4C6C-A4BA-22C363FD2B3A}">
      <dsp:nvSpPr>
        <dsp:cNvPr id="7" name="矩形 6"/>
        <dsp:cNvSpPr/>
      </dsp:nvSpPr>
      <dsp:spPr bwMode="white">
        <a:xfrm>
          <a:off x="4810256" y="1358633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三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810256" y="1358633"/>
        <a:ext cx="727291" cy="472739"/>
      </dsp:txXfrm>
    </dsp:sp>
    <dsp:sp modelId="{F40E9FFA-BE27-435E-84C2-5C7A3D7CF608}">
      <dsp:nvSpPr>
        <dsp:cNvPr id="8" name="弧形 7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20960084"/>
            <a:gd name="adj2" fmla="val 639915"/>
          </a:avLst>
        </a:prstGeom>
        <a:ln w="25400"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89B6D37C-0F49-4AC3-B7B9-F3974B80EB77}">
      <dsp:nvSpPr>
        <dsp:cNvPr id="9" name="矩形 8"/>
        <dsp:cNvSpPr/>
      </dsp:nvSpPr>
      <dsp:spPr bwMode="white">
        <a:xfrm>
          <a:off x="4810256" y="2573832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四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810256" y="2573832"/>
        <a:ext cx="727291" cy="472739"/>
      </dsp:txXfrm>
    </dsp:sp>
    <dsp:sp modelId="{789D6A88-5C69-43C2-9EC5-3C9C14CD22BC}">
      <dsp:nvSpPr>
        <dsp:cNvPr id="10" name="弧形 9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535997"/>
            <a:gd name="adj2" fmla="val 2601254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9A97C6F1-A71B-472A-B695-6E974962BB31}">
      <dsp:nvSpPr>
        <dsp:cNvPr id="11" name="矩形 10"/>
        <dsp:cNvSpPr/>
      </dsp:nvSpPr>
      <dsp:spPr bwMode="white">
        <a:xfrm>
          <a:off x="4095980" y="3556948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五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095980" y="3556948"/>
        <a:ext cx="727291" cy="472739"/>
      </dsp:txXfrm>
    </dsp:sp>
    <dsp:sp modelId="{59A46632-A5B1-4FAC-97E5-7E419B79DE82}">
      <dsp:nvSpPr>
        <dsp:cNvPr id="12" name="弧形 11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3982508"/>
            <a:gd name="adj2" fmla="val 4752665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F6179664-DB6D-4830-AA21-00FEC118F284}">
      <dsp:nvSpPr>
        <dsp:cNvPr id="13" name="矩形 12"/>
        <dsp:cNvSpPr/>
      </dsp:nvSpPr>
      <dsp:spPr bwMode="white">
        <a:xfrm>
          <a:off x="2940258" y="3932465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六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2940258" y="3932465"/>
        <a:ext cx="727291" cy="472739"/>
      </dsp:txXfrm>
    </dsp:sp>
    <dsp:sp modelId="{F7A42D6C-7DE8-489A-8D67-137E300DDAE8}">
      <dsp:nvSpPr>
        <dsp:cNvPr id="14" name="弧形 13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6047334"/>
            <a:gd name="adj2" fmla="val 6817491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1C8294A5-9F04-4E33-A60E-B8E7319403E6}">
      <dsp:nvSpPr>
        <dsp:cNvPr id="15" name="矩形 14"/>
        <dsp:cNvSpPr/>
      </dsp:nvSpPr>
      <dsp:spPr bwMode="white">
        <a:xfrm>
          <a:off x="1784535" y="3556948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七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784535" y="3556948"/>
        <a:ext cx="727291" cy="472739"/>
      </dsp:txXfrm>
    </dsp:sp>
    <dsp:sp modelId="{2D475742-4D9B-4204-8278-3C5AA56FD07B}">
      <dsp:nvSpPr>
        <dsp:cNvPr id="16" name="弧形 15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8198745"/>
            <a:gd name="adj2" fmla="val 9264002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3716EE8B-72EA-4CD0-B19A-599F713E2F8B}">
      <dsp:nvSpPr>
        <dsp:cNvPr id="17" name="矩形 16"/>
        <dsp:cNvSpPr/>
      </dsp:nvSpPr>
      <dsp:spPr bwMode="white">
        <a:xfrm>
          <a:off x="1070259" y="2573832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八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070259" y="2573832"/>
        <a:ext cx="727291" cy="472739"/>
      </dsp:txXfrm>
    </dsp:sp>
    <dsp:sp modelId="{E98DBE6F-3676-4734-B7AC-B82A0B1E1530}">
      <dsp:nvSpPr>
        <dsp:cNvPr id="18" name="弧形 17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0160084"/>
            <a:gd name="adj2" fmla="val 11439915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D45826B3-D8AC-403D-99B5-87C435FAFB34}">
      <dsp:nvSpPr>
        <dsp:cNvPr id="19" name="矩形 18"/>
        <dsp:cNvSpPr/>
      </dsp:nvSpPr>
      <dsp:spPr bwMode="white">
        <a:xfrm>
          <a:off x="1070259" y="1358633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九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070259" y="1358633"/>
        <a:ext cx="727291" cy="472739"/>
      </dsp:txXfrm>
    </dsp:sp>
    <dsp:sp modelId="{568018CE-694D-484B-B5AD-8CE2C58CB284}">
      <dsp:nvSpPr>
        <dsp:cNvPr id="20" name="弧形 19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2335997"/>
            <a:gd name="adj2" fmla="val 13401254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  <dsp:sp modelId="{ED1F5358-6AA3-4E8F-907C-AC98865A95F7}">
      <dsp:nvSpPr>
        <dsp:cNvPr id="21" name="矩形 20"/>
        <dsp:cNvSpPr/>
      </dsp:nvSpPr>
      <dsp:spPr bwMode="white">
        <a:xfrm>
          <a:off x="1784535" y="375517"/>
          <a:ext cx="727291" cy="472739"/>
        </a:xfrm>
        <a:prstGeom prst="rect">
          <a:avLst/>
        </a:prstGeom>
        <a:solidFill>
          <a:schemeClr val="tx2"/>
        </a:solidFill>
        <a:ln>
          <a:noFill/>
        </a:ln>
      </dsp:spPr>
      <dsp:style>
        <a:lnRef idx="2">
          <a:schemeClr val="accent1">
            <a:shade val="80000"/>
          </a:schemeClr>
        </a:lnRef>
        <a:fillRef idx="1">
          <a:schemeClr val="lt1"/>
        </a:fillRef>
        <a:effectRef idx="0">
          <a:scrgbClr r="0" g="0" b="0"/>
        </a:effectRef>
        <a:fontRef idx="minor">
          <a:schemeClr val="lt1"/>
        </a:fontRef>
      </dsp:style>
      <dsp:txBody>
        <a:bodyPr lIns="18288" tIns="18288" rIns="18288" bIns="18288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十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784535" y="375517"/>
        <a:ext cx="727291" cy="472739"/>
      </dsp:txXfrm>
    </dsp:sp>
    <dsp:sp modelId="{8CA0A993-4F86-4669-8237-B5CACCF2F1FC}">
      <dsp:nvSpPr>
        <dsp:cNvPr id="22" name="弧形 21"/>
        <dsp:cNvSpPr/>
      </dsp:nvSpPr>
      <dsp:spPr bwMode="white">
        <a:xfrm>
          <a:off x="1337670" y="236369"/>
          <a:ext cx="3932465" cy="3932465"/>
        </a:xfrm>
        <a:prstGeom prst="arc">
          <a:avLst>
            <a:gd name="adj1" fmla="val 14782508"/>
            <a:gd name="adj2" fmla="val 15552665"/>
          </a:avLst>
        </a:prstGeom>
        <a:ln>
          <a:noFill/>
        </a:ln>
      </dsp:spPr>
      <dsp:style>
        <a:lnRef idx="1">
          <a:schemeClr val="accent1"/>
        </a:lnRef>
        <a:fillRef idx="0">
          <a:schemeClr val="accent1"/>
        </a:fillRef>
        <a:effectRef idx="0">
          <a:scrgbClr r="0" g="0" b="0"/>
        </a:effectRef>
        <a:fontRef idx="minor"/>
      </dsp:style>
      <dsp:txXfrm>
        <a:off x="1337670" y="236369"/>
        <a:ext cx="3932465" cy="39324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4931834" cy="2882900"/>
        <a:chOff x="0" y="0"/>
        <a:chExt cx="4931834" cy="2882900"/>
      </a:xfrm>
    </dsp:grpSpPr>
    <dsp:sp modelId="{A333A9C2-D660-4D88-A0D2-68E68F92BDA3}">
      <dsp:nvSpPr>
        <dsp:cNvPr id="3" name="梯形 2"/>
        <dsp:cNvSpPr/>
      </dsp:nvSpPr>
      <dsp:spPr bwMode="white">
        <a:xfrm rot="10800000">
          <a:off x="0" y="0"/>
          <a:ext cx="4931834" cy="576580"/>
        </a:xfrm>
        <a:prstGeom prst="trapezoid">
          <a:avLst>
            <a:gd name="adj" fmla="val 85535"/>
          </a:avLst>
        </a:prstGeom>
        <a:noFill/>
        <a:ln>
          <a:solidFill>
            <a:schemeClr val="accent1"/>
          </a:solidFill>
        </a:ln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700" tIns="12700" rIns="12700" bIns="1270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dirty="0">
              <a:solidFill>
                <a:schemeClr val="tx1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tx1"/>
              </a:solidFill>
              <a:latin typeface="+mn-lt"/>
              <a:ea typeface="+mn-ea"/>
            </a:rPr>
            <a:t>1</a:t>
          </a:r>
          <a:endParaRPr lang="en-US" sz="1000" b="0" dirty="0">
            <a:solidFill>
              <a:schemeClr val="tx1"/>
            </a:solidFill>
            <a:latin typeface="+mn-lt"/>
            <a:ea typeface="+mn-ea"/>
          </a:endParaRPr>
        </a:p>
      </dsp:txBody>
      <dsp:txXfrm rot="10800000">
        <a:off x="0" y="0"/>
        <a:ext cx="4931834" cy="576580"/>
      </dsp:txXfrm>
    </dsp:sp>
    <dsp:sp modelId="{E64D5911-C055-4780-A124-2EC964666F62}">
      <dsp:nvSpPr>
        <dsp:cNvPr id="4" name="梯形 3"/>
        <dsp:cNvSpPr/>
      </dsp:nvSpPr>
      <dsp:spPr bwMode="white">
        <a:xfrm rot="10800000">
          <a:off x="493183" y="576580"/>
          <a:ext cx="3945467" cy="576580"/>
        </a:xfrm>
        <a:prstGeom prst="trapezoid">
          <a:avLst>
            <a:gd name="adj" fmla="val 85535"/>
          </a:avLst>
        </a:prstGeom>
        <a:noFill/>
        <a:ln>
          <a:solidFill>
            <a:srgbClr val="0046FF"/>
          </a:solidFill>
        </a:ln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700" tIns="12700" rIns="12700" bIns="1270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dirty="0">
              <a:solidFill>
                <a:schemeClr val="tx1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tx1"/>
              </a:solidFill>
              <a:latin typeface="+mn-lt"/>
              <a:ea typeface="+mn-ea"/>
            </a:rPr>
            <a:t>2</a:t>
          </a:r>
          <a:endParaRPr lang="en-US" sz="1000" b="0" dirty="0">
            <a:solidFill>
              <a:schemeClr val="tx1"/>
            </a:solidFill>
            <a:latin typeface="+mn-lt"/>
            <a:ea typeface="+mn-ea"/>
          </a:endParaRPr>
        </a:p>
      </dsp:txBody>
      <dsp:txXfrm rot="10800000">
        <a:off x="493183" y="576580"/>
        <a:ext cx="3945467" cy="576580"/>
      </dsp:txXfrm>
    </dsp:sp>
    <dsp:sp modelId="{53077FF9-6876-4110-9E03-B974EE4A6039}">
      <dsp:nvSpPr>
        <dsp:cNvPr id="5" name="梯形 4"/>
        <dsp:cNvSpPr/>
      </dsp:nvSpPr>
      <dsp:spPr bwMode="white">
        <a:xfrm rot="10800000">
          <a:off x="986367" y="1153160"/>
          <a:ext cx="2959100" cy="576580"/>
        </a:xfrm>
        <a:prstGeom prst="trapezoid">
          <a:avLst>
            <a:gd name="adj" fmla="val 85535"/>
          </a:avLst>
        </a:prstGeom>
        <a:noFill/>
        <a:ln>
          <a:solidFill>
            <a:schemeClr val="accent2"/>
          </a:solidFill>
        </a:ln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700" tIns="12700" rIns="12700" bIns="1270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dirty="0">
              <a:solidFill>
                <a:schemeClr val="tx1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tx1"/>
              </a:solidFill>
              <a:latin typeface="+mn-lt"/>
              <a:ea typeface="+mn-ea"/>
            </a:rPr>
            <a:t>3</a:t>
          </a:r>
          <a:endParaRPr lang="en-US" sz="1000" b="0" dirty="0">
            <a:solidFill>
              <a:schemeClr val="tx1"/>
            </a:solidFill>
            <a:latin typeface="+mn-lt"/>
            <a:ea typeface="+mn-ea"/>
          </a:endParaRPr>
        </a:p>
      </dsp:txBody>
      <dsp:txXfrm rot="10800000">
        <a:off x="986367" y="1153160"/>
        <a:ext cx="2959100" cy="576580"/>
      </dsp:txXfrm>
    </dsp:sp>
    <dsp:sp modelId="{217FE5F7-91D7-4C51-A51D-306650A6C51F}">
      <dsp:nvSpPr>
        <dsp:cNvPr id="6" name="梯形 5"/>
        <dsp:cNvSpPr/>
      </dsp:nvSpPr>
      <dsp:spPr bwMode="white">
        <a:xfrm rot="10800000">
          <a:off x="1479550" y="1729740"/>
          <a:ext cx="1972734" cy="576580"/>
        </a:xfrm>
        <a:prstGeom prst="trapezoid">
          <a:avLst>
            <a:gd name="adj" fmla="val 85535"/>
          </a:avLst>
        </a:prstGeom>
        <a:noFill/>
        <a:ln>
          <a:solidFill>
            <a:srgbClr val="5FF9FF"/>
          </a:solidFill>
        </a:ln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700" tIns="12700" rIns="12700" bIns="1270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dirty="0">
              <a:solidFill>
                <a:schemeClr val="tx1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tx1"/>
              </a:solidFill>
              <a:latin typeface="+mn-lt"/>
              <a:ea typeface="+mn-ea"/>
            </a:rPr>
            <a:t>4</a:t>
          </a:r>
          <a:endParaRPr lang="en-US" sz="1000" b="0" dirty="0">
            <a:solidFill>
              <a:schemeClr val="tx1"/>
            </a:solidFill>
            <a:latin typeface="+mn-lt"/>
            <a:ea typeface="+mn-ea"/>
          </a:endParaRPr>
        </a:p>
      </dsp:txBody>
      <dsp:txXfrm rot="10800000">
        <a:off x="1479550" y="1729740"/>
        <a:ext cx="1972734" cy="576580"/>
      </dsp:txXfrm>
    </dsp:sp>
    <dsp:sp modelId="{80DACBE6-9C5D-4BE8-91C0-8925F0F2E228}">
      <dsp:nvSpPr>
        <dsp:cNvPr id="7" name="梯形 6"/>
        <dsp:cNvSpPr/>
      </dsp:nvSpPr>
      <dsp:spPr bwMode="white">
        <a:xfrm rot="10800000">
          <a:off x="1972734" y="2306320"/>
          <a:ext cx="986367" cy="576580"/>
        </a:xfrm>
        <a:prstGeom prst="trapezoid">
          <a:avLst>
            <a:gd name="adj" fmla="val 85535"/>
          </a:avLst>
        </a:prstGeom>
        <a:solidFill>
          <a:schemeClr val="accent1">
            <a:alpha val="99000"/>
          </a:schemeClr>
        </a:solidFill>
        <a:ln>
          <a:solidFill>
            <a:schemeClr val="accent1"/>
          </a:solidFill>
        </a:ln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700" tIns="12700" rIns="12700" bIns="1270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ea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dirty="0">
              <a:solidFill>
                <a:schemeClr val="bg2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bg2"/>
              </a:solidFill>
              <a:latin typeface="+mn-lt"/>
              <a:ea typeface="+mn-ea"/>
            </a:rPr>
            <a:t>5</a:t>
          </a:r>
          <a:endParaRPr lang="en-US" sz="1000" b="0" dirty="0">
            <a:solidFill>
              <a:schemeClr val="bg2"/>
            </a:solidFill>
            <a:latin typeface="+mn-lt"/>
            <a:ea typeface="+mn-ea"/>
          </a:endParaRPr>
        </a:p>
      </dsp:txBody>
      <dsp:txXfrm rot="10800000">
        <a:off x="1972734" y="2306320"/>
        <a:ext cx="986367" cy="5765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endSty" val="noArr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T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T"/>
          <dgm:param type="txDir" val="fromT"/>
          <dgm:param type="pyraAcctPos" val="bef"/>
          <dgm:param type="pyraAcctTxMar" val="step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35627A-8767-4B30-8378-5133303025AD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8BE493-47FC-4C34-862B-C0189A01B1A3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8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8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9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0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2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3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4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5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7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8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2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3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4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5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8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Title slide layout with graphical backgrou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Sample bullet slid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ple financial table slide, with band shading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ple text-heavy table slide, with first column shad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Color palet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Color palet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Color palet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ll-page chart slid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Two charts – top and botto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F2B94E-D855-42C0-9B2A-19A5BC2FDF2D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charts – left and righ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ree char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Editorial title slide layout with blue backgrou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r char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r charts – quadrant layou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ock image plus two white box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6BB9C-6FC4-489F-ACB7-CB528852663C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dirty="0">
                <a:solidFill>
                  <a:schemeClr val="tx1"/>
                </a:solidFill>
              </a:rPr>
              <a:t>Central point with surrounding boxes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sz="1200" i="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ull bleed stock image + central idea.</a:t>
            </a:r>
            <a:endParaRPr lang="en-US" sz="1200" i="0" kern="1200" baseline="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ft hero picture plus three key takea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ll bleed image with three white box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Four points with light blue background.</a:t>
            </a:r>
            <a:endParaRPr lang="en-GB" sz="12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yramid slid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Table of conten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Table of conten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rge quote slide with ico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o slide with headsho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Section title – large numb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Section title – large numb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dirty="0"/>
              <a:t>Section title – large numb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ditori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2741"/>
          </a:xfrm>
          <a:prstGeom prst="rect">
            <a:avLst/>
          </a:prstGeom>
        </p:spPr>
      </p:pic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5"/>
            <a:ext cx="5900763" cy="513224"/>
          </a:xfrm>
        </p:spPr>
        <p:txBody>
          <a:bodyPr lIns="0" rIns="0" bIns="0" anchor="t" anchorCtr="0"/>
          <a:lstStyle>
            <a:lvl1pPr algn="l">
              <a:lnSpc>
                <a:spcPct val="92000"/>
              </a:lnSpc>
              <a:defRPr sz="33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92100" y="1972560"/>
            <a:ext cx="2664619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1125" spc="0">
                <a:solidFill>
                  <a:schemeClr val="bg1"/>
                </a:solidFill>
                <a:latin typeface="+mn-lt"/>
              </a:defRPr>
            </a:lvl1pPr>
            <a:lvl2pPr marL="0" indent="0" algn="l" eaLnBrk="1">
              <a:spcBef>
                <a:spcPts val="1520"/>
              </a:spcBef>
              <a:buNone/>
              <a:defRPr sz="790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algn="l"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bg1"/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7972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8012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713175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idx="12"/>
          </p:nvPr>
        </p:nvSpPr>
        <p:spPr>
          <a:xfrm>
            <a:off x="288900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Title Placeholder 1"/>
          <p:cNvSpPr>
            <a:spLocks noGrp="1"/>
          </p:cNvSpPr>
          <p:nvPr>
            <p:ph type="body" idx="1"/>
          </p:nvPr>
        </p:nvSpPr>
        <p:spPr>
          <a:xfrm>
            <a:off x="288900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5" name="Content Title Placeholder 2"/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90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503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2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/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Title Placeholder 2"/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2"/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cxnSp>
        <p:nvCxnSpPr>
          <p:cNvPr id="19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/>
          <p:cNvCxnSpPr/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/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6072902" cy="184666"/>
          </a:xfrm>
        </p:spPr>
        <p:txBody>
          <a:bodyPr wrap="square"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 eaLnBrk="1">
              <a:defRPr sz="3200" b="1" spc="0">
                <a:latin typeface="+mj-lt"/>
              </a:defRPr>
            </a:lvl1pPr>
            <a:lvl2pPr eaLnBrk="1">
              <a:defRPr sz="900" spc="0"/>
            </a:lvl2pPr>
            <a:lvl3pPr eaLnBrk="1">
              <a:defRPr sz="900" spc="0"/>
            </a:lvl3pPr>
            <a:lvl4pPr eaLnBrk="1">
              <a:defRPr sz="900" spc="0"/>
            </a:lvl4pPr>
            <a:lvl5pPr eaLnBrk="1">
              <a:defRPr sz="900" spc="0"/>
            </a:lvl5pPr>
          </a:lstStyle>
          <a:p>
            <a:pPr lvl="0"/>
            <a:r>
              <a:rPr lang="en-US" dirty="0"/>
              <a:t>Callou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4" name="top_border"/>
          <p:cNvCxnSpPr/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/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66867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Title Placeholder 2"/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5" name="Content Title Placeholder 3"/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8131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7" name="top_border"/>
          <p:cNvCxnSpPr/>
          <p:nvPr/>
        </p:nvCxnSpPr>
        <p:spPr>
          <a:xfrm>
            <a:off x="6189663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olid_bg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1" name="circle1"/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3" name="circle2"/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/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6" name="circle3"/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9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Title Placeholder 2"/>
          <p:cNvSpPr>
            <a:spLocks noGrp="1"/>
          </p:cNvSpPr>
          <p:nvPr>
            <p:ph type="body" idx="25"/>
          </p:nvPr>
        </p:nvSpPr>
        <p:spPr>
          <a:xfrm>
            <a:off x="252013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Title Placeholder 3"/>
          <p:cNvSpPr>
            <a:spLocks noGrp="1"/>
          </p:cNvSpPr>
          <p:nvPr>
            <p:ph type="body" idx="26"/>
          </p:nvPr>
        </p:nvSpPr>
        <p:spPr>
          <a:xfrm>
            <a:off x="471200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4" name="Content Title Placeholder 4"/>
          <p:cNvSpPr>
            <a:spLocks noGrp="1"/>
          </p:cNvSpPr>
          <p:nvPr>
            <p:ph type="body" idx="32"/>
          </p:nvPr>
        </p:nvSpPr>
        <p:spPr>
          <a:xfrm>
            <a:off x="6910598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26" name="top_border"/>
          <p:cNvCxnSpPr/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/>
          <p:cNvCxnSpPr/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/>
          <p:cNvCxnSpPr/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/>
          <p:cNvCxnSpPr/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"/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/>
          </p:nvPr>
        </p:nvSpPr>
        <p:spPr>
          <a:xfrm>
            <a:off x="2518840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/>
          </p:nvPr>
        </p:nvSpPr>
        <p:spPr>
          <a:xfrm>
            <a:off x="4701505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/>
          </p:nvPr>
        </p:nvSpPr>
        <p:spPr>
          <a:xfrm>
            <a:off x="6884168" y="1090175"/>
            <a:ext cx="1950188" cy="182880"/>
          </a:xfrm>
        </p:spPr>
        <p:txBody>
          <a:bodyPr lIns="0" rIns="0" bIns="0"/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Placeholder 8"/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0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/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45" name="top_border"/>
          <p:cNvCxnSpPr/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/>
          <p:cNvCxnSpPr/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/>
          <p:cNvCxnSpPr/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/>
          <p:cNvCxnSpPr/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/>
          <p:cNvCxnSpPr/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/>
          <p:cNvCxnSpPr/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/>
          <p:cNvCxnSpPr/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/>
          <p:cNvCxnSpPr/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6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8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7" name="Name Title Placeholder 4"/>
          <p:cNvSpPr>
            <a:spLocks noGrp="1"/>
          </p:cNvSpPr>
          <p:nvPr>
            <p:ph type="body" sz="quarter" idx="49"/>
          </p:nvPr>
        </p:nvSpPr>
        <p:spPr>
          <a:xfrm>
            <a:off x="6936184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5" name="Name Title Placeholder 3"/>
          <p:cNvSpPr>
            <a:spLocks noGrp="1"/>
          </p:cNvSpPr>
          <p:nvPr>
            <p:ph type="body" sz="quarter" idx="48"/>
          </p:nvPr>
        </p:nvSpPr>
        <p:spPr>
          <a:xfrm>
            <a:off x="4719769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3" name="Name Title Placeholder 2"/>
          <p:cNvSpPr>
            <a:spLocks noGrp="1"/>
          </p:cNvSpPr>
          <p:nvPr>
            <p:ph type="body" sz="quarter" idx="47"/>
          </p:nvPr>
        </p:nvSpPr>
        <p:spPr>
          <a:xfrm>
            <a:off x="2503355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1" name="Name Title Placeholder 1"/>
          <p:cNvSpPr>
            <a:spLocks noGrp="1"/>
          </p:cNvSpPr>
          <p:nvPr>
            <p:ph type="body" sz="quarter" idx="46" hasCustomPrompt="1"/>
          </p:nvPr>
        </p:nvSpPr>
        <p:spPr>
          <a:xfrm>
            <a:off x="288900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 dirty="0"/>
              <a:t>Click to Master 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5" name="Bullet Placeholder 4"/>
          <p:cNvSpPr>
            <a:spLocks noGrp="1"/>
          </p:cNvSpPr>
          <p:nvPr>
            <p:ph sz="quarter" idx="39"/>
          </p:nvPr>
        </p:nvSpPr>
        <p:spPr>
          <a:xfrm>
            <a:off x="693618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Bullet Placeholder 3"/>
          <p:cNvSpPr>
            <a:spLocks noGrp="1"/>
          </p:cNvSpPr>
          <p:nvPr>
            <p:ph sz="quarter" idx="41"/>
          </p:nvPr>
        </p:nvSpPr>
        <p:spPr>
          <a:xfrm>
            <a:off x="4719769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Bullet Placeholder 2"/>
          <p:cNvSpPr>
            <a:spLocks noGrp="1"/>
          </p:cNvSpPr>
          <p:nvPr>
            <p:ph sz="quarter" idx="43"/>
          </p:nvPr>
        </p:nvSpPr>
        <p:spPr>
          <a:xfrm>
            <a:off x="250335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Bullet Placeholder 1"/>
          <p:cNvSpPr>
            <a:spLocks noGrp="1"/>
          </p:cNvSpPr>
          <p:nvPr>
            <p:ph sz="quarter" idx="45"/>
          </p:nvPr>
        </p:nvSpPr>
        <p:spPr>
          <a:xfrm>
            <a:off x="286941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50" name="top_border"/>
          <p:cNvCxnSpPr/>
          <p:nvPr/>
        </p:nvCxnSpPr>
        <p:spPr>
          <a:xfrm>
            <a:off x="288900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top_border"/>
          <p:cNvCxnSpPr/>
          <p:nvPr/>
        </p:nvCxnSpPr>
        <p:spPr>
          <a:xfrm>
            <a:off x="2503355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/>
          <p:cNvCxnSpPr/>
          <p:nvPr/>
        </p:nvCxnSpPr>
        <p:spPr>
          <a:xfrm>
            <a:off x="4719769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top_border"/>
          <p:cNvCxnSpPr/>
          <p:nvPr/>
        </p:nvCxnSpPr>
        <p:spPr>
          <a:xfrm>
            <a:off x="6936184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619006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32385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9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 eaLnBrk="1">
              <a:spcBef>
                <a:spcPts val="300"/>
              </a:spcBef>
              <a:defRPr sz="8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4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olid_bg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1" name="circle1"/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3" name="circle2"/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/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6" name="circle3"/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 eaLnBrk="1">
              <a:spcBef>
                <a:spcPts val="0"/>
              </a:spcBef>
              <a:defRPr sz="1200" b="0" spc="0">
                <a:latin typeface="+mj-lt"/>
              </a:defRPr>
            </a:lvl1pPr>
            <a:lvl2pPr marL="0" indent="0" eaLnBrk="1">
              <a:spcBef>
                <a:spcPts val="0"/>
              </a:spcBef>
              <a:buNone/>
              <a:defRPr sz="1200" spc="0"/>
            </a:lvl2pPr>
          </a:lstStyle>
          <a:p>
            <a:r>
              <a:rPr lang="en-GB" dirty="0"/>
              <a:t>Invesco department </a:t>
            </a:r>
            <a:endParaRPr lang="en-GB" dirty="0"/>
          </a:p>
          <a:p>
            <a:pPr lvl="1"/>
            <a:r>
              <a:rPr lang="en-US" dirty="0"/>
              <a:t>Address</a:t>
            </a:r>
            <a:endParaRPr lang="en-US" dirty="0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901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900" y="146988"/>
            <a:ext cx="8568929" cy="2424762"/>
          </a:xfrm>
        </p:spPr>
        <p:txBody>
          <a:bodyPr lIns="0" rIns="0" bIns="0"/>
          <a:lstStyle>
            <a:lvl1pPr>
              <a:defRPr sz="6675" b="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- icon">
    <p:bg>
      <p:bgPr>
        <a:solidFill>
          <a:srgbClr val="5FF0FF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 userDrawn="1"/>
        </p:nvSpPr>
        <p:spPr bwMode="auto">
          <a:xfrm>
            <a:off x="288131" y="288131"/>
            <a:ext cx="640080" cy="640080"/>
          </a:xfrm>
          <a:prstGeom prst="ellipse">
            <a:avLst/>
          </a:prstGeom>
          <a:solidFill>
            <a:srgbClr val="D52219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015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238499" y="243000"/>
            <a:ext cx="5617369" cy="4282678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5"/>
              </a:spcBef>
              <a:buNone/>
              <a:defRPr sz="1400" b="0" spc="0">
                <a:solidFill>
                  <a:schemeClr val="tx2"/>
                </a:solidFill>
              </a:defRPr>
            </a:lvl2pPr>
            <a:lvl3pPr marL="152400" indent="-152400">
              <a:lnSpc>
                <a:spcPct val="100000"/>
              </a:lnSpc>
              <a:spcBef>
                <a:spcPts val="1015"/>
              </a:spcBef>
              <a:defRPr sz="1400" b="0" spc="0">
                <a:solidFill>
                  <a:schemeClr val="tx2"/>
                </a:solidFill>
              </a:defRPr>
            </a:lvl3pPr>
            <a:lvl4pPr marL="304800" indent="-151765"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1" y="1062112"/>
            <a:ext cx="1474984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2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59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  <a:endParaRPr lang="en-US" dirty="0"/>
          </a:p>
          <a:p>
            <a:pPr lvl="1"/>
            <a:r>
              <a:rPr lang="en-GB" dirty="0"/>
              <a:t>Job title goes here </a:t>
            </a:r>
            <a:endParaRPr lang="en-GB" dirty="0"/>
          </a:p>
        </p:txBody>
      </p:sp>
      <p:sp>
        <p:nvSpPr>
          <p:cNvPr id="11" name="Freeform 6"/>
          <p:cNvSpPr>
            <a:spLocks noEditPoints="1"/>
          </p:cNvSpPr>
          <p:nvPr userDrawn="1"/>
        </p:nvSpPr>
        <p:spPr bwMode="auto">
          <a:xfrm>
            <a:off x="478525" y="521790"/>
            <a:ext cx="241956" cy="180319"/>
          </a:xfrm>
          <a:custGeom>
            <a:avLst/>
            <a:gdLst>
              <a:gd name="T0" fmla="*/ 0 w 738"/>
              <a:gd name="T1" fmla="*/ 367 h 550"/>
              <a:gd name="T2" fmla="*/ 324 w 738"/>
              <a:gd name="T3" fmla="*/ 0 h 550"/>
              <a:gd name="T4" fmla="*/ 335 w 738"/>
              <a:gd name="T5" fmla="*/ 31 h 550"/>
              <a:gd name="T6" fmla="*/ 142 w 738"/>
              <a:gd name="T7" fmla="*/ 283 h 550"/>
              <a:gd name="T8" fmla="*/ 312 w 738"/>
              <a:gd name="T9" fmla="*/ 420 h 550"/>
              <a:gd name="T10" fmla="*/ 169 w 738"/>
              <a:gd name="T11" fmla="*/ 550 h 550"/>
              <a:gd name="T12" fmla="*/ 0 w 738"/>
              <a:gd name="T13" fmla="*/ 367 h 550"/>
              <a:gd name="T14" fmla="*/ 402 w 738"/>
              <a:gd name="T15" fmla="*/ 367 h 550"/>
              <a:gd name="T16" fmla="*/ 726 w 738"/>
              <a:gd name="T17" fmla="*/ 0 h 550"/>
              <a:gd name="T18" fmla="*/ 738 w 738"/>
              <a:gd name="T19" fmla="*/ 31 h 550"/>
              <a:gd name="T20" fmla="*/ 544 w 738"/>
              <a:gd name="T21" fmla="*/ 283 h 550"/>
              <a:gd name="T22" fmla="*/ 712 w 738"/>
              <a:gd name="T23" fmla="*/ 420 h 550"/>
              <a:gd name="T24" fmla="*/ 572 w 738"/>
              <a:gd name="T25" fmla="*/ 550 h 550"/>
              <a:gd name="T26" fmla="*/ 402 w 738"/>
              <a:gd name="T27" fmla="*/ 36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38" h="550">
                <a:moveTo>
                  <a:pt x="0" y="367"/>
                </a:moveTo>
                <a:cubicBezTo>
                  <a:pt x="0" y="213"/>
                  <a:pt x="125" y="68"/>
                  <a:pt x="324" y="0"/>
                </a:cubicBezTo>
                <a:cubicBezTo>
                  <a:pt x="335" y="31"/>
                  <a:pt x="335" y="31"/>
                  <a:pt x="335" y="31"/>
                </a:cubicBezTo>
                <a:cubicBezTo>
                  <a:pt x="203" y="90"/>
                  <a:pt x="144" y="185"/>
                  <a:pt x="142" y="283"/>
                </a:cubicBezTo>
                <a:cubicBezTo>
                  <a:pt x="255" y="298"/>
                  <a:pt x="312" y="345"/>
                  <a:pt x="312" y="420"/>
                </a:cubicBezTo>
                <a:cubicBezTo>
                  <a:pt x="312" y="496"/>
                  <a:pt x="250" y="550"/>
                  <a:pt x="169" y="550"/>
                </a:cubicBezTo>
                <a:cubicBezTo>
                  <a:pt x="68" y="550"/>
                  <a:pt x="0" y="468"/>
                  <a:pt x="0" y="367"/>
                </a:cubicBezTo>
                <a:close/>
                <a:moveTo>
                  <a:pt x="402" y="367"/>
                </a:moveTo>
                <a:cubicBezTo>
                  <a:pt x="402" y="213"/>
                  <a:pt x="527" y="68"/>
                  <a:pt x="726" y="0"/>
                </a:cubicBezTo>
                <a:cubicBezTo>
                  <a:pt x="738" y="31"/>
                  <a:pt x="738" y="31"/>
                  <a:pt x="738" y="31"/>
                </a:cubicBezTo>
                <a:cubicBezTo>
                  <a:pt x="605" y="90"/>
                  <a:pt x="546" y="185"/>
                  <a:pt x="544" y="283"/>
                </a:cubicBezTo>
                <a:cubicBezTo>
                  <a:pt x="656" y="298"/>
                  <a:pt x="712" y="345"/>
                  <a:pt x="712" y="420"/>
                </a:cubicBezTo>
                <a:cubicBezTo>
                  <a:pt x="712" y="496"/>
                  <a:pt x="652" y="550"/>
                  <a:pt x="572" y="550"/>
                </a:cubicBezTo>
                <a:cubicBezTo>
                  <a:pt x="468" y="550"/>
                  <a:pt x="402" y="468"/>
                  <a:pt x="402" y="3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101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3238500" y="0"/>
            <a:ext cx="5905500" cy="5143500"/>
          </a:xfrm>
        </p:spPr>
        <p:txBody>
          <a:bodyPr/>
          <a:lstStyle/>
          <a:p>
            <a:pPr marL="0" marR="0" lvl="0" indent="0" algn="l" defTabSz="171450" rtl="0" eaLnBrk="0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88900" y="243000"/>
            <a:ext cx="2663850" cy="3689634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0" y="1052513"/>
            <a:ext cx="9144000" cy="4090988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8070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90060" y="1905000"/>
            <a:ext cx="2666405" cy="2667000"/>
          </a:xfrm>
          <a:solidFill>
            <a:schemeClr val="bg1"/>
          </a:solidFill>
          <a:ln w="25400">
            <a:noFill/>
          </a:ln>
        </p:spPr>
        <p:txBody>
          <a:bodyPr lIns="189000" tIns="180000" rIns="0" bIns="0"/>
          <a:lstStyle>
            <a:lvl1pPr eaLnBrk="1">
              <a:spcAft>
                <a:spcPts val="675"/>
              </a:spcAft>
              <a:defRPr sz="3300" spc="0">
                <a:solidFill>
                  <a:schemeClr val="tx2"/>
                </a:solidFill>
                <a:latin typeface="+mn-lt"/>
              </a:defRPr>
            </a:lvl1pPr>
            <a:lvl2pPr>
              <a:defRPr sz="1200" spc="0">
                <a:solidFill>
                  <a:schemeClr val="tx2"/>
                </a:solidFill>
              </a:defRPr>
            </a:lvl2pPr>
            <a:lvl3pPr>
              <a:defRPr sz="1200" spc="0">
                <a:solidFill>
                  <a:schemeClr val="tx2"/>
                </a:solidFill>
              </a:defRPr>
            </a:lvl3pPr>
            <a:lvl4pPr>
              <a:defRPr sz="1200" spc="0">
                <a:solidFill>
                  <a:schemeClr val="tx2"/>
                </a:solidFill>
              </a:defRPr>
            </a:lvl4pPr>
            <a:lvl5pPr>
              <a:defRPr sz="120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err="1"/>
              <a:t>Big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8226883" y="2073134"/>
            <a:ext cx="445500" cy="445500"/>
          </a:xfrm>
          <a:prstGeom prst="ellipse">
            <a:avLst/>
          </a:prstGeom>
          <a:solidFill>
            <a:srgbClr val="D52219"/>
          </a:solidFill>
        </p:spPr>
        <p:txBody>
          <a:bodyPr lIns="0" rIns="0" bIns="0" anchor="ctr" anchorCtr="0"/>
          <a:lstStyle>
            <a:lvl1pPr algn="ctr">
              <a:lnSpc>
                <a:spcPct val="100000"/>
              </a:lnSpc>
              <a:defRPr sz="525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u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052513"/>
            <a:ext cx="9144000" cy="4090988"/>
          </a:xfrm>
          <a:prstGeom prst="rect">
            <a:avLst/>
          </a:prstGeom>
          <a:solidFill>
            <a:srgbClr val="5FF0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US" sz="1015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2664619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1125" spc="0">
                <a:solidFill>
                  <a:schemeClr val="tx2"/>
                </a:solidFill>
                <a:latin typeface="+mn-lt"/>
              </a:defRPr>
            </a:lvl1pPr>
            <a:lvl2pPr marL="0" indent="0" algn="l" eaLnBrk="1">
              <a:spcBef>
                <a:spcPts val="1520"/>
              </a:spcBef>
              <a:buNone/>
              <a:defRPr sz="790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ditor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1" name="circle1"/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3" name="circle2"/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/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26" name="circle3"/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  <a:endParaRPr lang="en-GB" dirty="0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678656"/>
            <a:ext cx="8568929" cy="869317"/>
          </a:xfrm>
        </p:spPr>
        <p:txBody>
          <a:bodyPr lIns="0" rIns="0" bIns="0" anchor="b" anchorCtr="0"/>
          <a:lstStyle>
            <a:lvl1pPr>
              <a:defRPr sz="405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124182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050" spc="0"/>
            </a:lvl1pPr>
            <a:lvl2pPr marL="0" indent="0" algn="l">
              <a:spcBef>
                <a:spcPts val="1520"/>
              </a:spcBef>
              <a:buNone/>
              <a:defRPr sz="1050" spc="0"/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131" y="4843424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9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850510"/>
            <a:ext cx="2664619" cy="1238890"/>
          </a:xfrm>
        </p:spPr>
        <p:txBody>
          <a:bodyPr wrap="square" lIns="0" rIns="0" bIns="0" anchor="b" anchorCtr="0">
            <a:noAutofit/>
          </a:bodyPr>
          <a:lstStyle>
            <a:lvl1pPr>
              <a:spcBef>
                <a:spcPts val="675"/>
              </a:spcBef>
              <a:defRPr sz="900" b="1" spc="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900" spc="0" baseline="0">
                <a:solidFill>
                  <a:schemeClr val="tx2"/>
                </a:solidFill>
              </a:defRPr>
            </a:lvl2pPr>
          </a:lstStyle>
          <a:p>
            <a:r>
              <a:rPr lang="en-US" dirty="0"/>
              <a:t>Presenter name </a:t>
            </a:r>
            <a:endParaRPr lang="en-US" dirty="0"/>
          </a:p>
          <a:p>
            <a:pPr lvl="1"/>
            <a:r>
              <a:rPr lang="en-US" dirty="0"/>
              <a:t>Presenter title</a:t>
            </a:r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238499" y="243530"/>
            <a:ext cx="5617369" cy="4328470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5"/>
              </a:spcBef>
              <a:buNone/>
              <a:defRPr sz="1400" b="0" spc="0">
                <a:solidFill>
                  <a:schemeClr val="tx1"/>
                </a:solidFill>
              </a:defRPr>
            </a:lvl2pPr>
            <a:lvl3pPr marL="152400" indent="-152400">
              <a:lnSpc>
                <a:spcPct val="100000"/>
              </a:lnSpc>
              <a:spcBef>
                <a:spcPts val="1015"/>
              </a:spcBef>
              <a:defRPr sz="1400" b="0" spc="0">
                <a:solidFill>
                  <a:schemeClr val="tx1"/>
                </a:solidFill>
              </a:defRPr>
            </a:lvl3pPr>
            <a:lvl4pPr marL="304800" indent="-151765"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131" y="288131"/>
            <a:ext cx="640080" cy="640080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1052513"/>
            <a:ext cx="1472407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59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  <a:endParaRPr lang="en-US" dirty="0"/>
          </a:p>
          <a:p>
            <a:pPr lvl="1"/>
            <a:r>
              <a:rPr lang="en-GB" dirty="0"/>
              <a:t>Job title goes here </a:t>
            </a:r>
            <a:endParaRPr lang="en-GB" dirty="0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2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5906948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3200" spc="0">
                <a:solidFill>
                  <a:schemeClr val="tx1"/>
                </a:solidFill>
                <a:latin typeface="+mn-lt"/>
              </a:defRPr>
            </a:lvl1pPr>
            <a:lvl2pPr marL="0" indent="0" algn="l" eaLnBrk="1">
              <a:spcBef>
                <a:spcPts val="1520"/>
              </a:spcBef>
              <a:buNone/>
              <a:defRPr sz="790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9699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3"/>
          </p:nvPr>
        </p:nvSpPr>
        <p:spPr>
          <a:xfrm>
            <a:off x="288900" y="1052512"/>
            <a:ext cx="8562975" cy="2879726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2663850" cy="1241821"/>
          </a:xfrm>
        </p:spPr>
        <p:txBody>
          <a:bodyPr lIns="0" rIns="0" bIns="0"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1520"/>
              </a:spcBef>
              <a:buNone/>
              <a:defRPr sz="79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88900" y="243000"/>
            <a:ext cx="4283100" cy="571499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7972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8012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713175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idx="12"/>
          </p:nvPr>
        </p:nvSpPr>
        <p:spPr>
          <a:xfrm>
            <a:off x="288900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Title Placeholder 1"/>
          <p:cNvSpPr>
            <a:spLocks noGrp="1"/>
          </p:cNvSpPr>
          <p:nvPr>
            <p:ph type="body" idx="1"/>
          </p:nvPr>
        </p:nvSpPr>
        <p:spPr>
          <a:xfrm>
            <a:off x="288900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5" name="Content Title Placeholder 2"/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90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503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2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/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Title Placeholder 2"/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200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5899066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3200" spc="0">
                <a:solidFill>
                  <a:schemeClr val="tx2"/>
                </a:solidFill>
                <a:latin typeface="+mn-lt"/>
              </a:defRPr>
            </a:lvl1pPr>
            <a:lvl2pPr marL="0" indent="0" algn="l" eaLnBrk="1">
              <a:spcBef>
                <a:spcPts val="1520"/>
              </a:spcBef>
              <a:buNone/>
              <a:defRPr sz="790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  <a:endParaRPr lang="en-US" dirty="0"/>
          </a:p>
          <a:p>
            <a:pPr lvl="1"/>
            <a:r>
              <a:rPr lang="en-GB" dirty="0"/>
              <a:t>Content description can span over two lines </a:t>
            </a:r>
            <a:endParaRPr lang="en-GB" dirty="0"/>
          </a:p>
          <a:p>
            <a:pPr lvl="2"/>
            <a:r>
              <a:rPr lang="en-GB" dirty="0"/>
              <a:t>Page 0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2"/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cxnSp>
        <p:nvCxnSpPr>
          <p:cNvPr id="19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/>
          <p:cNvCxnSpPr/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/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6072902" cy="184666"/>
          </a:xfrm>
        </p:spPr>
        <p:txBody>
          <a:bodyPr wrap="square"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 eaLnBrk="1">
              <a:defRPr sz="3200" b="1" spc="0">
                <a:latin typeface="+mj-lt"/>
              </a:defRPr>
            </a:lvl1pPr>
            <a:lvl2pPr eaLnBrk="1">
              <a:defRPr sz="900" spc="0"/>
            </a:lvl2pPr>
            <a:lvl3pPr eaLnBrk="1">
              <a:defRPr sz="900" spc="0"/>
            </a:lvl3pPr>
            <a:lvl4pPr eaLnBrk="1">
              <a:defRPr sz="900" spc="0"/>
            </a:lvl4pPr>
            <a:lvl5pPr eaLnBrk="1">
              <a:defRPr sz="900" spc="0"/>
            </a:lvl5pPr>
          </a:lstStyle>
          <a:p>
            <a:pPr lvl="0"/>
            <a:r>
              <a:rPr lang="en-US" dirty="0"/>
              <a:t>Callou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4" name="top_border"/>
          <p:cNvCxnSpPr/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/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66867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Title Placeholder 2"/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5" name="Content Title Placeholder 3"/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8131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7" name="top_border"/>
          <p:cNvCxnSpPr/>
          <p:nvPr/>
        </p:nvCxnSpPr>
        <p:spPr>
          <a:xfrm>
            <a:off x="6189663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9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Title Placeholder 2"/>
          <p:cNvSpPr>
            <a:spLocks noGrp="1"/>
          </p:cNvSpPr>
          <p:nvPr>
            <p:ph type="body" idx="25"/>
          </p:nvPr>
        </p:nvSpPr>
        <p:spPr>
          <a:xfrm>
            <a:off x="252013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Title Placeholder 3"/>
          <p:cNvSpPr>
            <a:spLocks noGrp="1"/>
          </p:cNvSpPr>
          <p:nvPr>
            <p:ph type="body" idx="26"/>
          </p:nvPr>
        </p:nvSpPr>
        <p:spPr>
          <a:xfrm>
            <a:off x="471200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4" name="Content Title Placeholder 4"/>
          <p:cNvSpPr>
            <a:spLocks noGrp="1"/>
          </p:cNvSpPr>
          <p:nvPr>
            <p:ph type="body" idx="32"/>
          </p:nvPr>
        </p:nvSpPr>
        <p:spPr>
          <a:xfrm>
            <a:off x="6910598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26" name="top_border"/>
          <p:cNvCxnSpPr/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/>
          <p:cNvCxnSpPr/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/>
          <p:cNvCxnSpPr/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/>
          <p:cNvCxnSpPr/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"/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/>
          </p:nvPr>
        </p:nvSpPr>
        <p:spPr>
          <a:xfrm>
            <a:off x="2518840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/>
          </p:nvPr>
        </p:nvSpPr>
        <p:spPr>
          <a:xfrm>
            <a:off x="4701505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/>
          </p:nvPr>
        </p:nvSpPr>
        <p:spPr>
          <a:xfrm>
            <a:off x="6884168" y="1090175"/>
            <a:ext cx="1950188" cy="182880"/>
          </a:xfrm>
        </p:spPr>
        <p:txBody>
          <a:bodyPr lIns="0" rIns="0" bIns="0"/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Placeholder 8"/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0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/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45" name="top_border"/>
          <p:cNvCxnSpPr/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/>
          <p:cNvCxnSpPr/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/>
          <p:cNvCxnSpPr/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/>
          <p:cNvCxnSpPr/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/>
          <p:cNvCxnSpPr/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/>
          <p:cNvCxnSpPr/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/>
          <p:cNvCxnSpPr/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/>
          <p:cNvCxnSpPr/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6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8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9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7" name="Name Title Placeholder 4"/>
          <p:cNvSpPr>
            <a:spLocks noGrp="1"/>
          </p:cNvSpPr>
          <p:nvPr>
            <p:ph type="body" sz="quarter" idx="49"/>
          </p:nvPr>
        </p:nvSpPr>
        <p:spPr>
          <a:xfrm>
            <a:off x="6936184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5" name="Name Title Placeholder 3"/>
          <p:cNvSpPr>
            <a:spLocks noGrp="1"/>
          </p:cNvSpPr>
          <p:nvPr>
            <p:ph type="body" sz="quarter" idx="48"/>
          </p:nvPr>
        </p:nvSpPr>
        <p:spPr>
          <a:xfrm>
            <a:off x="4719769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3" name="Name Title Placeholder 2"/>
          <p:cNvSpPr>
            <a:spLocks noGrp="1"/>
          </p:cNvSpPr>
          <p:nvPr>
            <p:ph type="body" sz="quarter" idx="47"/>
          </p:nvPr>
        </p:nvSpPr>
        <p:spPr>
          <a:xfrm>
            <a:off x="2503355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sp>
        <p:nvSpPr>
          <p:cNvPr id="51" name="Name Title Placeholder 1"/>
          <p:cNvSpPr>
            <a:spLocks noGrp="1"/>
          </p:cNvSpPr>
          <p:nvPr>
            <p:ph type="body" sz="quarter" idx="46" hasCustomPrompt="1"/>
          </p:nvPr>
        </p:nvSpPr>
        <p:spPr>
          <a:xfrm>
            <a:off x="288900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 dirty="0"/>
              <a:t>Click to Master 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5" name="Bullet Placeholder 4"/>
          <p:cNvSpPr>
            <a:spLocks noGrp="1"/>
          </p:cNvSpPr>
          <p:nvPr>
            <p:ph sz="quarter" idx="39"/>
          </p:nvPr>
        </p:nvSpPr>
        <p:spPr>
          <a:xfrm>
            <a:off x="693618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Bullet Placeholder 3"/>
          <p:cNvSpPr>
            <a:spLocks noGrp="1"/>
          </p:cNvSpPr>
          <p:nvPr>
            <p:ph sz="quarter" idx="41"/>
          </p:nvPr>
        </p:nvSpPr>
        <p:spPr>
          <a:xfrm>
            <a:off x="4719769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Bullet Placeholder 2"/>
          <p:cNvSpPr>
            <a:spLocks noGrp="1"/>
          </p:cNvSpPr>
          <p:nvPr>
            <p:ph sz="quarter" idx="43"/>
          </p:nvPr>
        </p:nvSpPr>
        <p:spPr>
          <a:xfrm>
            <a:off x="250335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Bullet Placeholder 1"/>
          <p:cNvSpPr>
            <a:spLocks noGrp="1"/>
          </p:cNvSpPr>
          <p:nvPr>
            <p:ph sz="quarter" idx="45"/>
          </p:nvPr>
        </p:nvSpPr>
        <p:spPr>
          <a:xfrm>
            <a:off x="286941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50" name="top_border"/>
          <p:cNvCxnSpPr/>
          <p:nvPr/>
        </p:nvCxnSpPr>
        <p:spPr>
          <a:xfrm>
            <a:off x="288900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top_border"/>
          <p:cNvCxnSpPr/>
          <p:nvPr/>
        </p:nvCxnSpPr>
        <p:spPr>
          <a:xfrm>
            <a:off x="2503355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/>
          <p:cNvCxnSpPr/>
          <p:nvPr/>
        </p:nvCxnSpPr>
        <p:spPr>
          <a:xfrm>
            <a:off x="4719769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top_border"/>
          <p:cNvCxnSpPr/>
          <p:nvPr/>
        </p:nvCxnSpPr>
        <p:spPr>
          <a:xfrm>
            <a:off x="6936184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619006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32385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9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lid_bg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238499" y="243530"/>
            <a:ext cx="5617369" cy="4328470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5"/>
              </a:spcBef>
              <a:buNone/>
              <a:defRPr sz="1400" b="0" spc="0">
                <a:solidFill>
                  <a:schemeClr val="tx1"/>
                </a:solidFill>
              </a:defRPr>
            </a:lvl2pPr>
            <a:lvl3pPr marL="152400" indent="-152400">
              <a:lnSpc>
                <a:spcPct val="100000"/>
              </a:lnSpc>
              <a:spcBef>
                <a:spcPts val="1015"/>
              </a:spcBef>
              <a:defRPr sz="1400" b="0" spc="0">
                <a:solidFill>
                  <a:schemeClr val="tx1"/>
                </a:solidFill>
              </a:defRPr>
            </a:lvl3pPr>
            <a:lvl4pPr marL="304800" indent="-151765"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131" y="288131"/>
            <a:ext cx="640080" cy="640080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1052513"/>
            <a:ext cx="1472407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59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  <a:endParaRPr lang="en-US" dirty="0"/>
          </a:p>
          <a:p>
            <a:pPr lvl="1"/>
            <a:r>
              <a:rPr lang="en-GB" dirty="0"/>
              <a:t>Job title goes here </a:t>
            </a:r>
            <a:endParaRPr lang="en-GB" dirty="0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 eaLnBrk="1">
              <a:spcBef>
                <a:spcPts val="300"/>
              </a:spcBef>
              <a:defRPr sz="8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4" name="Footnote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 eaLnBrk="1">
              <a:spcBef>
                <a:spcPts val="0"/>
              </a:spcBef>
              <a:defRPr sz="1200" b="0" spc="0">
                <a:latin typeface="+mj-lt"/>
              </a:defRPr>
            </a:lvl1pPr>
            <a:lvl2pPr marL="0" indent="0" eaLnBrk="1">
              <a:spcBef>
                <a:spcPts val="0"/>
              </a:spcBef>
              <a:buNone/>
              <a:defRPr sz="1200" spc="0"/>
            </a:lvl2pPr>
          </a:lstStyle>
          <a:p>
            <a:r>
              <a:rPr lang="en-GB" dirty="0"/>
              <a:t>Invesco department </a:t>
            </a:r>
            <a:endParaRPr lang="en-GB" dirty="0"/>
          </a:p>
          <a:p>
            <a:pPr lvl="1"/>
            <a:r>
              <a:rPr lang="en-US" dirty="0"/>
              <a:t>Address</a:t>
            </a:r>
            <a:endParaRPr lang="en-US" dirty="0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901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900" y="146988"/>
            <a:ext cx="8568929" cy="2424762"/>
          </a:xfrm>
        </p:spPr>
        <p:txBody>
          <a:bodyPr lIns="0" rIns="0" bIns="0"/>
          <a:lstStyle>
            <a:lvl1pPr>
              <a:defRPr sz="6675" b="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- icon">
    <p:bg>
      <p:bgPr>
        <a:solidFill>
          <a:srgbClr val="5FF0FF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 userDrawn="1"/>
        </p:nvSpPr>
        <p:spPr bwMode="auto">
          <a:xfrm>
            <a:off x="288131" y="288131"/>
            <a:ext cx="640080" cy="640080"/>
          </a:xfrm>
          <a:prstGeom prst="ellipse">
            <a:avLst/>
          </a:prstGeom>
          <a:solidFill>
            <a:srgbClr val="D52219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015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238499" y="243000"/>
            <a:ext cx="5617369" cy="4282678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5"/>
              </a:spcBef>
              <a:buNone/>
              <a:defRPr sz="1400" b="0" spc="0">
                <a:solidFill>
                  <a:schemeClr val="tx2"/>
                </a:solidFill>
              </a:defRPr>
            </a:lvl2pPr>
            <a:lvl3pPr marL="152400" indent="-152400">
              <a:lnSpc>
                <a:spcPct val="100000"/>
              </a:lnSpc>
              <a:spcBef>
                <a:spcPts val="1015"/>
              </a:spcBef>
              <a:defRPr sz="1400" b="0" spc="0">
                <a:solidFill>
                  <a:schemeClr val="tx2"/>
                </a:solidFill>
              </a:defRPr>
            </a:lvl3pPr>
            <a:lvl4pPr marL="304800" indent="-151765"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5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8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1" y="1062112"/>
            <a:ext cx="1474984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2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59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  <a:endParaRPr lang="en-US" dirty="0"/>
          </a:p>
          <a:p>
            <a:pPr lvl="1"/>
            <a:r>
              <a:rPr lang="en-GB" dirty="0"/>
              <a:t>Job title goes here </a:t>
            </a:r>
            <a:endParaRPr lang="en-GB" dirty="0"/>
          </a:p>
        </p:txBody>
      </p:sp>
      <p:sp>
        <p:nvSpPr>
          <p:cNvPr id="11" name="Freeform 6"/>
          <p:cNvSpPr>
            <a:spLocks noEditPoints="1"/>
          </p:cNvSpPr>
          <p:nvPr userDrawn="1"/>
        </p:nvSpPr>
        <p:spPr bwMode="auto">
          <a:xfrm>
            <a:off x="478525" y="521790"/>
            <a:ext cx="241956" cy="180319"/>
          </a:xfrm>
          <a:custGeom>
            <a:avLst/>
            <a:gdLst>
              <a:gd name="T0" fmla="*/ 0 w 738"/>
              <a:gd name="T1" fmla="*/ 367 h 550"/>
              <a:gd name="T2" fmla="*/ 324 w 738"/>
              <a:gd name="T3" fmla="*/ 0 h 550"/>
              <a:gd name="T4" fmla="*/ 335 w 738"/>
              <a:gd name="T5" fmla="*/ 31 h 550"/>
              <a:gd name="T6" fmla="*/ 142 w 738"/>
              <a:gd name="T7" fmla="*/ 283 h 550"/>
              <a:gd name="T8" fmla="*/ 312 w 738"/>
              <a:gd name="T9" fmla="*/ 420 h 550"/>
              <a:gd name="T10" fmla="*/ 169 w 738"/>
              <a:gd name="T11" fmla="*/ 550 h 550"/>
              <a:gd name="T12" fmla="*/ 0 w 738"/>
              <a:gd name="T13" fmla="*/ 367 h 550"/>
              <a:gd name="T14" fmla="*/ 402 w 738"/>
              <a:gd name="T15" fmla="*/ 367 h 550"/>
              <a:gd name="T16" fmla="*/ 726 w 738"/>
              <a:gd name="T17" fmla="*/ 0 h 550"/>
              <a:gd name="T18" fmla="*/ 738 w 738"/>
              <a:gd name="T19" fmla="*/ 31 h 550"/>
              <a:gd name="T20" fmla="*/ 544 w 738"/>
              <a:gd name="T21" fmla="*/ 283 h 550"/>
              <a:gd name="T22" fmla="*/ 712 w 738"/>
              <a:gd name="T23" fmla="*/ 420 h 550"/>
              <a:gd name="T24" fmla="*/ 572 w 738"/>
              <a:gd name="T25" fmla="*/ 550 h 550"/>
              <a:gd name="T26" fmla="*/ 402 w 738"/>
              <a:gd name="T27" fmla="*/ 36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38" h="550">
                <a:moveTo>
                  <a:pt x="0" y="367"/>
                </a:moveTo>
                <a:cubicBezTo>
                  <a:pt x="0" y="213"/>
                  <a:pt x="125" y="68"/>
                  <a:pt x="324" y="0"/>
                </a:cubicBezTo>
                <a:cubicBezTo>
                  <a:pt x="335" y="31"/>
                  <a:pt x="335" y="31"/>
                  <a:pt x="335" y="31"/>
                </a:cubicBezTo>
                <a:cubicBezTo>
                  <a:pt x="203" y="90"/>
                  <a:pt x="144" y="185"/>
                  <a:pt x="142" y="283"/>
                </a:cubicBezTo>
                <a:cubicBezTo>
                  <a:pt x="255" y="298"/>
                  <a:pt x="312" y="345"/>
                  <a:pt x="312" y="420"/>
                </a:cubicBezTo>
                <a:cubicBezTo>
                  <a:pt x="312" y="496"/>
                  <a:pt x="250" y="550"/>
                  <a:pt x="169" y="550"/>
                </a:cubicBezTo>
                <a:cubicBezTo>
                  <a:pt x="68" y="550"/>
                  <a:pt x="0" y="468"/>
                  <a:pt x="0" y="367"/>
                </a:cubicBezTo>
                <a:close/>
                <a:moveTo>
                  <a:pt x="402" y="367"/>
                </a:moveTo>
                <a:cubicBezTo>
                  <a:pt x="402" y="213"/>
                  <a:pt x="527" y="68"/>
                  <a:pt x="726" y="0"/>
                </a:cubicBezTo>
                <a:cubicBezTo>
                  <a:pt x="738" y="31"/>
                  <a:pt x="738" y="31"/>
                  <a:pt x="738" y="31"/>
                </a:cubicBezTo>
                <a:cubicBezTo>
                  <a:pt x="605" y="90"/>
                  <a:pt x="546" y="185"/>
                  <a:pt x="544" y="283"/>
                </a:cubicBezTo>
                <a:cubicBezTo>
                  <a:pt x="656" y="298"/>
                  <a:pt x="712" y="345"/>
                  <a:pt x="712" y="420"/>
                </a:cubicBezTo>
                <a:cubicBezTo>
                  <a:pt x="712" y="496"/>
                  <a:pt x="652" y="550"/>
                  <a:pt x="572" y="550"/>
                </a:cubicBezTo>
                <a:cubicBezTo>
                  <a:pt x="468" y="550"/>
                  <a:pt x="402" y="468"/>
                  <a:pt x="402" y="3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101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3238500" y="0"/>
            <a:ext cx="5905500" cy="5143500"/>
          </a:xfrm>
        </p:spPr>
        <p:txBody>
          <a:bodyPr/>
          <a:lstStyle/>
          <a:p>
            <a:pPr marL="0" marR="0" lvl="0" indent="0" algn="l" defTabSz="171450" rtl="0" eaLnBrk="0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88900" y="243000"/>
            <a:ext cx="2663850" cy="3689634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0" y="1052513"/>
            <a:ext cx="9144000" cy="4090988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8070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90060" y="1905000"/>
            <a:ext cx="2666405" cy="2667000"/>
          </a:xfrm>
          <a:solidFill>
            <a:schemeClr val="bg1"/>
          </a:solidFill>
          <a:ln w="25400">
            <a:noFill/>
          </a:ln>
        </p:spPr>
        <p:txBody>
          <a:bodyPr lIns="189000" tIns="180000" rIns="0" bIns="0"/>
          <a:lstStyle>
            <a:lvl1pPr eaLnBrk="1">
              <a:spcAft>
                <a:spcPts val="675"/>
              </a:spcAft>
              <a:defRPr sz="3300" spc="0">
                <a:solidFill>
                  <a:schemeClr val="tx2"/>
                </a:solidFill>
                <a:latin typeface="+mn-lt"/>
              </a:defRPr>
            </a:lvl1pPr>
            <a:lvl2pPr>
              <a:defRPr sz="1200" spc="0">
                <a:solidFill>
                  <a:schemeClr val="tx2"/>
                </a:solidFill>
              </a:defRPr>
            </a:lvl2pPr>
            <a:lvl3pPr>
              <a:defRPr sz="1200" spc="0">
                <a:solidFill>
                  <a:schemeClr val="tx2"/>
                </a:solidFill>
              </a:defRPr>
            </a:lvl3pPr>
            <a:lvl4pPr>
              <a:defRPr sz="1200" spc="0">
                <a:solidFill>
                  <a:schemeClr val="tx2"/>
                </a:solidFill>
              </a:defRPr>
            </a:lvl4pPr>
            <a:lvl5pPr>
              <a:defRPr sz="120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err="1"/>
              <a:t>Big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8226883" y="2073134"/>
            <a:ext cx="445500" cy="445500"/>
          </a:xfrm>
          <a:prstGeom prst="ellipse">
            <a:avLst/>
          </a:prstGeom>
          <a:solidFill>
            <a:srgbClr val="D52219"/>
          </a:solidFill>
        </p:spPr>
        <p:txBody>
          <a:bodyPr lIns="0" rIns="0" bIns="0" anchor="ctr" anchorCtr="0"/>
          <a:lstStyle>
            <a:lvl1pPr algn="ctr">
              <a:lnSpc>
                <a:spcPct val="100000"/>
              </a:lnSpc>
              <a:defRPr sz="525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u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052513"/>
            <a:ext cx="9144000" cy="4090988"/>
          </a:xfrm>
          <a:prstGeom prst="rect">
            <a:avLst/>
          </a:prstGeom>
          <a:solidFill>
            <a:srgbClr val="5FF0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US" sz="1015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g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88900" y="678656"/>
            <a:ext cx="8572673" cy="869317"/>
          </a:xfrm>
        </p:spPr>
        <p:txBody>
          <a:bodyPr lIns="0" rIns="0" bIns="0" anchor="b" anchorCtr="0"/>
          <a:lstStyle>
            <a:lvl1pPr>
              <a:defRPr sz="405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124182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050" spc="0"/>
            </a:lvl1pPr>
            <a:lvl2pPr marL="0" indent="0" algn="l">
              <a:spcBef>
                <a:spcPts val="1520"/>
              </a:spcBef>
              <a:buNone/>
              <a:defRPr sz="1050" spc="0"/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7665245" y="3362576"/>
            <a:ext cx="1191816" cy="1238890"/>
          </a:xfrm>
        </p:spPr>
        <p:txBody>
          <a:bodyPr wrap="square" lIns="0" rIns="0" bIns="0" anchor="b" anchorCtr="0">
            <a:noAutofit/>
          </a:bodyPr>
          <a:lstStyle>
            <a:lvl1pPr>
              <a:spcBef>
                <a:spcPts val="675"/>
              </a:spcBef>
              <a:defRPr sz="900" b="1" spc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900" spc="0"/>
            </a:lvl2pPr>
          </a:lstStyle>
          <a:p>
            <a:r>
              <a:rPr lang="en-US" dirty="0"/>
              <a:t>Presenter name </a:t>
            </a:r>
            <a:endParaRPr lang="en-US" dirty="0"/>
          </a:p>
          <a:p>
            <a:pPr lvl="1"/>
            <a:r>
              <a:rPr lang="en-US" dirty="0"/>
              <a:t>Presenter 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88900" y="3359645"/>
            <a:ext cx="4146946" cy="1241822"/>
          </a:xfrm>
        </p:spPr>
        <p:txBody>
          <a:bodyPr lIns="0" rIns="0" bIns="0" anchor="b" anchorCtr="0"/>
          <a:lstStyle>
            <a:lvl1pPr>
              <a:spcBef>
                <a:spcPts val="0"/>
              </a:spcBef>
              <a:defRPr sz="900" spc="0"/>
            </a:lvl1pPr>
            <a:lvl2pPr>
              <a:spcBef>
                <a:spcPts val="0"/>
              </a:spcBef>
              <a:defRPr sz="900" spc="0"/>
            </a:lvl2pPr>
            <a:lvl3pPr>
              <a:spcBef>
                <a:spcPts val="0"/>
              </a:spcBef>
              <a:defRPr sz="900" spc="0"/>
            </a:lvl3pPr>
            <a:lvl4pPr>
              <a:spcBef>
                <a:spcPts val="0"/>
              </a:spcBef>
              <a:defRPr sz="825" spc="0"/>
            </a:lvl4pPr>
            <a:lvl5pPr>
              <a:spcBef>
                <a:spcPts val="0"/>
              </a:spcBef>
              <a:defRPr sz="825" spc="0"/>
            </a:lvl5pPr>
          </a:lstStyle>
          <a:p>
            <a:pPr lvl="0"/>
            <a:r>
              <a:rPr lang="en-US" dirty="0"/>
              <a:t>Click to edit 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  <p:sp>
        <p:nvSpPr>
          <p:cNvPr id="10" name="Footer Placeholder 4"/>
          <p:cNvSpPr txBox="1"/>
          <p:nvPr userDrawn="1"/>
        </p:nvSpPr>
        <p:spPr>
          <a:xfrm>
            <a:off x="1763116" y="4843422"/>
            <a:ext cx="3240000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5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Optional footer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9699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3"/>
          </p:nvPr>
        </p:nvSpPr>
        <p:spPr>
          <a:xfrm>
            <a:off x="288900" y="1052512"/>
            <a:ext cx="8562975" cy="2879726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Pr>
        <a:solidFill>
          <a:srgbClr val="E7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88900" y="238683"/>
            <a:ext cx="5616179" cy="4282678"/>
          </a:xfrm>
        </p:spPr>
        <p:txBody>
          <a:bodyPr lIns="0" rIns="0" bIns="0"/>
          <a:lstStyle>
            <a:lvl1pPr>
              <a:spcBef>
                <a:spcPts val="0"/>
              </a:spcBef>
              <a:defRPr sz="1500" b="1" spc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500" b="0" spc="0">
                <a:solidFill>
                  <a:schemeClr val="tx2"/>
                </a:solidFill>
              </a:defRPr>
            </a:lvl2pPr>
            <a:lvl3pPr marL="152400" indent="-152400"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3pPr>
            <a:lvl4pPr marL="304800" indent="-151765"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20" name="Content Placeholder 1"/>
          <p:cNvSpPr>
            <a:spLocks noGrp="1"/>
          </p:cNvSpPr>
          <p:nvPr>
            <p:ph idx="13"/>
          </p:nvPr>
        </p:nvSpPr>
        <p:spPr>
          <a:xfrm>
            <a:off x="288131" y="1052512"/>
            <a:ext cx="8568929" cy="2879725"/>
          </a:xfrm>
        </p:spPr>
        <p:txBody>
          <a:bodyPr lIns="0" rIns="0" bIns="0">
            <a:normAutofit/>
          </a:bodyPr>
          <a:lstStyle>
            <a:lvl1pPr>
              <a:defRPr sz="900" spc="0"/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rgbClr val="E7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>
            <a:lvl1pPr>
              <a:defRPr sz="900" spc="0">
                <a:solidFill>
                  <a:schemeClr val="tx2"/>
                </a:solidFill>
              </a:defRPr>
            </a:lvl1pPr>
            <a:lvl2pPr>
              <a:defRPr sz="900" spc="0">
                <a:solidFill>
                  <a:schemeClr val="tx2"/>
                </a:solidFill>
              </a:defRPr>
            </a:lvl2pPr>
            <a:lvl3pPr>
              <a:defRPr sz="900" spc="0">
                <a:solidFill>
                  <a:schemeClr val="tx2"/>
                </a:solidFill>
              </a:defRPr>
            </a:lvl3pPr>
            <a:lvl4pPr>
              <a:defRPr sz="825" spc="0">
                <a:solidFill>
                  <a:schemeClr val="tx2"/>
                </a:solidFill>
              </a:defRPr>
            </a:lvl4pPr>
            <a:lvl5pPr>
              <a:defRPr sz="825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 (12-16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288900" y="289322"/>
            <a:ext cx="8572673" cy="1084463"/>
          </a:xfrm>
        </p:spPr>
        <p:txBody>
          <a:bodyPr lIns="0" rIns="0" bIns="0" anchor="b" anchorCtr="0"/>
          <a:lstStyle>
            <a:lvl1pPr>
              <a:defRPr sz="2700" spc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/>
          </p:nvPr>
        </p:nvSpPr>
        <p:spPr>
          <a:xfrm>
            <a:off x="288900" y="1388668"/>
            <a:ext cx="8568929" cy="118308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00" spc="0">
                <a:solidFill>
                  <a:schemeClr val="tx2"/>
                </a:solidFill>
              </a:defRPr>
            </a:lvl1pPr>
            <a:lvl2pPr marL="0" indent="0" algn="l">
              <a:spcBef>
                <a:spcPts val="1520"/>
              </a:spcBef>
              <a:buNone/>
              <a:defRPr sz="79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note Placeholder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8568929" cy="2880122"/>
          </a:xfrm>
        </p:spPr>
        <p:txBody>
          <a:bodyPr lIns="0" t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4-1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8568929" cy="2880122"/>
          </a:xfrm>
        </p:spPr>
        <p:txBody>
          <a:bodyPr lIns="0" t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4-1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note Placeholder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4140994" cy="2880122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13685" y="1052513"/>
            <a:ext cx="4140994" cy="2880122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  <a:endParaRPr lang="en-US" dirty="0"/>
          </a:p>
          <a:p>
            <a:pPr marL="137160" lvl="1" indent="-137160" algn="l" defTabSz="171450" rtl="0" eaLnBrk="1" latinLnBrk="0" hangingPunct="1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3" name="Content Placeholder 1"/>
          <p:cNvSpPr>
            <a:spLocks noGrp="1"/>
          </p:cNvSpPr>
          <p:nvPr>
            <p:ph idx="12" hasCustomPrompt="1"/>
          </p:nvPr>
        </p:nvSpPr>
        <p:spPr>
          <a:xfrm>
            <a:off x="288131" y="1273629"/>
            <a:ext cx="4140994" cy="2658609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  <a:endParaRPr lang="en-US" dirty="0"/>
          </a:p>
          <a:p>
            <a:pPr marL="137160" lvl="1" indent="-137160" algn="l" defTabSz="171450" rtl="0" eaLnBrk="1" latinLnBrk="0" hangingPunct="1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Content Title Placeholder 1"/>
          <p:cNvSpPr>
            <a:spLocks noGrp="1"/>
          </p:cNvSpPr>
          <p:nvPr>
            <p:ph type="body" idx="1"/>
          </p:nvPr>
        </p:nvSpPr>
        <p:spPr>
          <a:xfrm>
            <a:off x="286940" y="829945"/>
            <a:ext cx="4140993" cy="380702"/>
          </a:xfrm>
        </p:spPr>
        <p:txBody>
          <a:bodyPr lIns="0" rIns="0" bIns="0" anchor="b"/>
          <a:lstStyle>
            <a:lvl1pPr marL="0" indent="0">
              <a:buNone/>
              <a:defRPr sz="12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Title Placeholder 2"/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>
              <a:buNone/>
              <a:defRPr sz="12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5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 Placeholder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13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 b="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 Placeholder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8542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0" y="1055700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cxnSp>
        <p:nvCxnSpPr>
          <p:cNvPr id="12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olid_bg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2663850" cy="1241821"/>
          </a:xfrm>
        </p:spPr>
        <p:txBody>
          <a:bodyPr lIns="0" rIns="0" bIns="0"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1520"/>
              </a:spcBef>
              <a:buNone/>
              <a:defRPr sz="790">
                <a:solidFill>
                  <a:schemeClr val="tx2"/>
                </a:solidFill>
              </a:defRPr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88900" y="243000"/>
            <a:ext cx="4283100" cy="571499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/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5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4142184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7" name="Content Title Placeholder 2"/>
          <p:cNvSpPr>
            <a:spLocks noGrp="1"/>
          </p:cNvSpPr>
          <p:nvPr>
            <p:ph type="body" idx="24" hasCustomPrompt="1"/>
          </p:nvPr>
        </p:nvSpPr>
        <p:spPr>
          <a:xfrm>
            <a:off x="4713684" y="1055700"/>
            <a:ext cx="4142184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 Placeholder"/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8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0" y="1055700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Title Placeholder 2"/>
          <p:cNvSpPr>
            <a:spLocks noGrp="1"/>
          </p:cNvSpPr>
          <p:nvPr>
            <p:ph type="body" idx="24" hasCustomPrompt="1"/>
          </p:nvPr>
        </p:nvSpPr>
        <p:spPr>
          <a:xfrm>
            <a:off x="288130" y="2576387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9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/>
          <p:cNvCxnSpPr/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note Placeholder"/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61264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>
              <a:defRPr sz="3200" b="1" spc="0">
                <a:latin typeface="+mj-lt"/>
              </a:defRPr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allou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4" name="top_border"/>
          <p:cNvCxnSpPr/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/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5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7" name="Content Title Placeholder 2"/>
          <p:cNvSpPr>
            <a:spLocks noGrp="1"/>
          </p:cNvSpPr>
          <p:nvPr>
            <p:ph type="body" idx="25" hasCustomPrompt="1"/>
          </p:nvPr>
        </p:nvSpPr>
        <p:spPr>
          <a:xfrm>
            <a:off x="3240900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Content Title Placeholder 3"/>
          <p:cNvSpPr>
            <a:spLocks noGrp="1"/>
          </p:cNvSpPr>
          <p:nvPr>
            <p:ph type="body" idx="26" hasCustomPrompt="1"/>
          </p:nvPr>
        </p:nvSpPr>
        <p:spPr>
          <a:xfrm>
            <a:off x="6194860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18" name="top_border"/>
          <p:cNvCxnSpPr/>
          <p:nvPr/>
        </p:nvCxnSpPr>
        <p:spPr>
          <a:xfrm>
            <a:off x="286914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/>
          <p:cNvCxnSpPr/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_border"/>
          <p:cNvCxnSpPr/>
          <p:nvPr/>
        </p:nvCxnSpPr>
        <p:spPr>
          <a:xfrm>
            <a:off x="619486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note Placeholder"/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3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1" name="Content Title Placeholder 2"/>
          <p:cNvSpPr>
            <a:spLocks noGrp="1"/>
          </p:cNvSpPr>
          <p:nvPr>
            <p:ph type="body" idx="25" hasCustomPrompt="1"/>
          </p:nvPr>
        </p:nvSpPr>
        <p:spPr>
          <a:xfrm>
            <a:off x="2473845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4" name="Content Title Placeholder 3"/>
          <p:cNvSpPr>
            <a:spLocks noGrp="1"/>
          </p:cNvSpPr>
          <p:nvPr>
            <p:ph type="body" idx="26" hasCustomPrompt="1"/>
          </p:nvPr>
        </p:nvSpPr>
        <p:spPr>
          <a:xfrm>
            <a:off x="4656384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7" name="Content Title Placeholder 4"/>
          <p:cNvSpPr>
            <a:spLocks noGrp="1"/>
          </p:cNvSpPr>
          <p:nvPr>
            <p:ph type="body" idx="32" hasCustomPrompt="1"/>
          </p:nvPr>
        </p:nvSpPr>
        <p:spPr>
          <a:xfrm>
            <a:off x="6838924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26" name="top_border"/>
          <p:cNvCxnSpPr/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/>
          <p:cNvCxnSpPr/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/>
          <p:cNvCxnSpPr/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/>
          <p:cNvCxnSpPr/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 Placeholder"/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22" name="Rectangle 21"/>
          <p:cNvSpPr/>
          <p:nvPr/>
        </p:nvSpPr>
        <p:spPr>
          <a:xfrm>
            <a:off x="288131" y="1058400"/>
            <a:ext cx="8559671" cy="32416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 hasCustomPrompt="1"/>
          </p:nvPr>
        </p:nvSpPr>
        <p:spPr>
          <a:xfrm>
            <a:off x="2470795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 hasCustomPrompt="1"/>
          </p:nvPr>
        </p:nvSpPr>
        <p:spPr>
          <a:xfrm>
            <a:off x="4653460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6836124" y="1055700"/>
            <a:ext cx="2011680" cy="182880"/>
          </a:xfrm>
        </p:spPr>
        <p:txBody>
          <a:bodyPr lIns="0" rIns="0" bIns="0"/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  <a:endParaRPr lang="en-US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Placeholder 8"/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30" name="top_border"/>
          <p:cNvCxnSpPr/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 Placeholder"/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288131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19" name="Rectangle 18"/>
          <p:cNvSpPr/>
          <p:nvPr/>
        </p:nvSpPr>
        <p:spPr>
          <a:xfrm>
            <a:off x="2208649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23" name="Rectangle 22"/>
          <p:cNvSpPr/>
          <p:nvPr/>
        </p:nvSpPr>
        <p:spPr>
          <a:xfrm>
            <a:off x="4125857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27" name="Rectangle 26"/>
          <p:cNvSpPr/>
          <p:nvPr/>
        </p:nvSpPr>
        <p:spPr>
          <a:xfrm>
            <a:off x="6034887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31" name="Rectangle 30"/>
          <p:cNvSpPr/>
          <p:nvPr/>
        </p:nvSpPr>
        <p:spPr>
          <a:xfrm>
            <a:off x="288131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35" name="Rectangle 34"/>
          <p:cNvSpPr/>
          <p:nvPr/>
        </p:nvSpPr>
        <p:spPr>
          <a:xfrm>
            <a:off x="2208649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40" name="Rectangle 39"/>
          <p:cNvSpPr/>
          <p:nvPr/>
        </p:nvSpPr>
        <p:spPr>
          <a:xfrm>
            <a:off x="4125857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46" name="Rectangle 45"/>
          <p:cNvSpPr/>
          <p:nvPr/>
        </p:nvSpPr>
        <p:spPr>
          <a:xfrm>
            <a:off x="6034887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45" name="top_border"/>
          <p:cNvCxnSpPr/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/>
          <p:cNvCxnSpPr/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/>
          <p:cNvCxnSpPr/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/>
          <p:cNvCxnSpPr/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/>
          <p:cNvCxnSpPr/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/>
          <p:cNvCxnSpPr/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/>
          <p:cNvCxnSpPr/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/>
          <p:cNvCxnSpPr/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 Placeholder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33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6936184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24"/>
          <p:cNvSpPr>
            <a:spLocks noGrp="1"/>
          </p:cNvSpPr>
          <p:nvPr>
            <p:ph type="body" sz="quarter" idx="41" hasCustomPrompt="1"/>
          </p:nvPr>
        </p:nvSpPr>
        <p:spPr>
          <a:xfrm>
            <a:off x="4719769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4"/>
          <p:cNvSpPr>
            <a:spLocks noGrp="1"/>
          </p:cNvSpPr>
          <p:nvPr>
            <p:ph type="body" sz="quarter" idx="43" hasCustomPrompt="1"/>
          </p:nvPr>
        </p:nvSpPr>
        <p:spPr>
          <a:xfrm>
            <a:off x="2503355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2" name="Text Placeholder 24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cxnSp>
        <p:nvCxnSpPr>
          <p:cNvPr id="20" name="top_border"/>
          <p:cNvCxnSpPr/>
          <p:nvPr/>
        </p:nvCxnSpPr>
        <p:spPr>
          <a:xfrm>
            <a:off x="288900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_border"/>
          <p:cNvCxnSpPr/>
          <p:nvPr/>
        </p:nvCxnSpPr>
        <p:spPr>
          <a:xfrm>
            <a:off x="288900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4"/>
          <p:cNvSpPr>
            <a:spLocks noGrp="1"/>
          </p:cNvSpPr>
          <p:nvPr>
            <p:ph type="body" sz="quarter" idx="46"/>
          </p:nvPr>
        </p:nvSpPr>
        <p:spPr>
          <a:xfrm>
            <a:off x="288900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cxnSp>
        <p:nvCxnSpPr>
          <p:cNvPr id="25" name="top_border"/>
          <p:cNvCxnSpPr/>
          <p:nvPr/>
        </p:nvCxnSpPr>
        <p:spPr>
          <a:xfrm>
            <a:off x="2503355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_border"/>
          <p:cNvCxnSpPr/>
          <p:nvPr/>
        </p:nvCxnSpPr>
        <p:spPr>
          <a:xfrm>
            <a:off x="2503355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2503355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cxnSp>
        <p:nvCxnSpPr>
          <p:cNvPr id="29" name="top_border"/>
          <p:cNvCxnSpPr/>
          <p:nvPr/>
        </p:nvCxnSpPr>
        <p:spPr>
          <a:xfrm>
            <a:off x="4719769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top_border"/>
          <p:cNvCxnSpPr/>
          <p:nvPr/>
        </p:nvCxnSpPr>
        <p:spPr>
          <a:xfrm>
            <a:off x="4719769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4"/>
          <p:cNvSpPr>
            <a:spLocks noGrp="1"/>
          </p:cNvSpPr>
          <p:nvPr>
            <p:ph type="body" sz="quarter" idx="48"/>
          </p:nvPr>
        </p:nvSpPr>
        <p:spPr>
          <a:xfrm>
            <a:off x="4719769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  <p:cxnSp>
        <p:nvCxnSpPr>
          <p:cNvPr id="36" name="top_border"/>
          <p:cNvCxnSpPr/>
          <p:nvPr/>
        </p:nvCxnSpPr>
        <p:spPr>
          <a:xfrm>
            <a:off x="6936184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top_border"/>
          <p:cNvCxnSpPr/>
          <p:nvPr/>
        </p:nvCxnSpPr>
        <p:spPr>
          <a:xfrm>
            <a:off x="6936184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4"/>
          <p:cNvSpPr>
            <a:spLocks noGrp="1"/>
          </p:cNvSpPr>
          <p:nvPr>
            <p:ph type="body" sz="quarter" idx="49"/>
          </p:nvPr>
        </p:nvSpPr>
        <p:spPr>
          <a:xfrm>
            <a:off x="6936184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800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800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45"/>
          </p:nvPr>
        </p:nvSpPr>
        <p:spPr>
          <a:xfrm>
            <a:off x="28890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46"/>
          </p:nvPr>
        </p:nvSpPr>
        <p:spPr>
          <a:xfrm>
            <a:off x="323850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47"/>
          </p:nvPr>
        </p:nvSpPr>
        <p:spPr>
          <a:xfrm>
            <a:off x="619006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"/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323850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619006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5"/>
              </a:spcBef>
              <a:buNone/>
              <a:defRPr sz="1050" spc="0"/>
            </a:lvl2pPr>
            <a:lvl3pPr marL="149860" indent="-149860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3237310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5"/>
              </a:spcBef>
              <a:buNone/>
              <a:defRPr sz="1050" spc="0"/>
            </a:lvl2pPr>
            <a:lvl3pPr marL="149860" indent="-149860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6194823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5"/>
              </a:spcBef>
              <a:buNone/>
              <a:defRPr sz="1050" spc="0"/>
            </a:lvl2pPr>
            <a:lvl3pPr marL="149860" indent="-149860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  <a:endParaRPr lang="en-US" dirty="0"/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 Placeholder"/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  <a:endParaRPr lang="en-US" dirty="0"/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 hasCustomPrompt="1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 hasCustomPrompt="1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 hasCustomPrompt="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 hasCustomPrompt="1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 hasCustomPrompt="1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 hasCustomPrompt="1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 hasCustomPrompt="1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 hasCustomPrompt="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 hasCustomPrompt="1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 hasCustomPrompt="1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 hasCustomPrompt="1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 hasCustomPrompt="1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 hasCustomPrompt="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 hasCustomPrompt="1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 hasCustomPrompt="1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>
              <a:defRPr sz="900" spc="0"/>
            </a:lvl1pPr>
          </a:lstStyle>
          <a:p>
            <a:pPr lvl="0"/>
            <a:r>
              <a:rPr lang="en-US" dirty="0"/>
              <a:t>Click to edit Master text styles (9pt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esenter Name"/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>
              <a:spcBef>
                <a:spcPts val="0"/>
              </a:spcBef>
              <a:defRPr sz="1050" b="1" spc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50" spc="0"/>
            </a:lvl2pPr>
          </a:lstStyle>
          <a:p>
            <a:r>
              <a:rPr lang="en-GB" dirty="0"/>
              <a:t>Invesco department </a:t>
            </a:r>
            <a:r>
              <a:rPr lang="en-US" dirty="0"/>
              <a:t> </a:t>
            </a:r>
            <a:endParaRPr lang="en-US" dirty="0"/>
          </a:p>
          <a:p>
            <a:pPr lvl="1"/>
            <a:r>
              <a:rPr lang="en-US" dirty="0"/>
              <a:t>Address</a:t>
            </a:r>
            <a:endParaRPr lang="en-US" dirty="0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288131" y="4843424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7" Type="http://schemas.openxmlformats.org/officeDocument/2006/relationships/theme" Target="../theme/theme1.xml"/><Relationship Id="rId36" Type="http://schemas.openxmlformats.org/officeDocument/2006/relationships/image" Target="../media/image3.png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4.xml"/><Relationship Id="rId8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35" Type="http://schemas.openxmlformats.org/officeDocument/2006/relationships/theme" Target="../theme/theme2.xml"/><Relationship Id="rId34" Type="http://schemas.openxmlformats.org/officeDocument/2006/relationships/image" Target="../media/image3.png"/><Relationship Id="rId33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5.xml"/><Relationship Id="rId3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7.xml"/><Relationship Id="rId8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5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3" Type="http://schemas.openxmlformats.org/officeDocument/2006/relationships/slideLayout" Target="../slideLayouts/slideLayout71.xml"/><Relationship Id="rId28" Type="http://schemas.openxmlformats.org/officeDocument/2006/relationships/theme" Target="../theme/theme3.xml"/><Relationship Id="rId27" Type="http://schemas.openxmlformats.org/officeDocument/2006/relationships/image" Target="../media/image3.png"/><Relationship Id="rId26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/>
          <p:cNvGrpSpPr/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/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4" name="Rectangle 23"/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6" name="Rectangle 25"/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9" name="Rectangle 28"/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0" name="Rectangle 29"/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1" name="Rectangle 30"/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3" name="Rectangle 32"/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4" name="Rectangle 33"/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5" name="Rectangle 34"/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6" name="Rectangle 35"/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7" name="Rectangle 36"/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8" name="Rectangle 37"/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9" name="Rectangle 38"/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</p:grpSp>
      <p:grpSp>
        <p:nvGrpSpPr>
          <p:cNvPr id="28" name="Grid" hidden="1"/>
          <p:cNvGrpSpPr/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/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900" y="1052513"/>
            <a:ext cx="8564587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5" y="4828510"/>
            <a:ext cx="5902923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28510"/>
            <a:ext cx="355607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pic>
        <p:nvPicPr>
          <p:cNvPr id="44" name="图片 43"/>
          <p:cNvPicPr>
            <a:picLocks noChangeAspect="1"/>
          </p:cNvPicPr>
          <p:nvPr userDrawn="1"/>
        </p:nvPicPr>
        <p:blipFill>
          <a:blip r:embed="rId3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</p:sldLayoutIdLst>
  <p:hf hdr="0" dt="0"/>
  <p:txStyles>
    <p:titleStyle>
      <a:lvl1pPr algn="l" defTabSz="171450" rtl="0" eaLnBrk="1" latinLnBrk="0" hangingPunct="1">
        <a:lnSpc>
          <a:spcPct val="100000"/>
        </a:lnSpc>
        <a:spcBef>
          <a:spcPct val="0"/>
        </a:spcBef>
        <a:buNone/>
        <a:defRPr sz="2000" b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50" rtl="0" eaLnBrk="1" latinLnBrk="0" hangingPunct="1">
        <a:lnSpc>
          <a:spcPct val="100000"/>
        </a:lnSpc>
        <a:spcBef>
          <a:spcPts val="1200"/>
        </a:spcBef>
        <a:buFont typeface="Verdana" panose="020B0604030504040204" pitchFamily="34" charset="0"/>
        <a:buNone/>
        <a:defRPr sz="1200" b="0" kern="1200" spc="0" baseline="0">
          <a:solidFill>
            <a:schemeClr val="tx1"/>
          </a:solidFill>
          <a:latin typeface="Graphik Semibold" panose="020B0703030202060203" pitchFamily="34" charset="0"/>
          <a:ea typeface="+mn-ea"/>
          <a:cs typeface="+mn-cs"/>
        </a:defRPr>
      </a:lvl1pPr>
      <a:lvl2pPr marL="0" indent="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200" b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3716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27432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1148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/>
          <p:cNvGrpSpPr/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/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4" name="Rectangle 23"/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6" name="Rectangle 25"/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9" name="Rectangle 28"/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0" name="Rectangle 29"/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1" name="Rectangle 30"/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3" name="Rectangle 32"/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4" name="Rectangle 33"/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5" name="Rectangle 34"/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6" name="Rectangle 35"/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7" name="Rectangle 36"/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8" name="Rectangle 37"/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9" name="Rectangle 38"/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</p:grpSp>
      <p:grpSp>
        <p:nvGrpSpPr>
          <p:cNvPr id="28" name="Grid" hidden="1"/>
          <p:cNvGrpSpPr/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/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900" y="1052513"/>
            <a:ext cx="8564587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5" y="4828510"/>
            <a:ext cx="5902923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28510"/>
            <a:ext cx="355607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CA4F33B-2A5C-4874-B5D7-74DA77ECCD3C}" type="slidenum">
              <a:rPr lang="en-US" smtClean="0"/>
            </a:fld>
            <a:endParaRPr lang="en-US"/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</p:sldLayoutIdLst>
  <p:hf hdr="0" dt="0"/>
  <p:txStyles>
    <p:titleStyle>
      <a:lvl1pPr algn="l" defTabSz="171450" rtl="0" eaLnBrk="1" latinLnBrk="0" hangingPunct="1">
        <a:lnSpc>
          <a:spcPct val="100000"/>
        </a:lnSpc>
        <a:spcBef>
          <a:spcPct val="0"/>
        </a:spcBef>
        <a:buNone/>
        <a:defRPr sz="2100" b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50" rtl="0" eaLnBrk="1" latinLnBrk="0" hangingPunct="1">
        <a:lnSpc>
          <a:spcPct val="100000"/>
        </a:lnSpc>
        <a:spcBef>
          <a:spcPts val="1200"/>
        </a:spcBef>
        <a:buFont typeface="Verdana" panose="020B0604030504040204" pitchFamily="34" charset="0"/>
        <a:buNone/>
        <a:defRPr sz="1200" b="0" kern="1200" spc="0" baseline="0">
          <a:solidFill>
            <a:schemeClr val="tx1"/>
          </a:solidFill>
          <a:latin typeface="Graphik Semibold" panose="020B0703030202060203" pitchFamily="34" charset="0"/>
          <a:ea typeface="+mn-ea"/>
          <a:cs typeface="+mn-cs"/>
        </a:defRPr>
      </a:lvl1pPr>
      <a:lvl2pPr marL="0" indent="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200" b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3716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27432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11480" indent="-137160" algn="l" defTabSz="1714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/>
          <p:cNvGrpSpPr/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/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4" name="Rectangle 23"/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6" name="Rectangle 25"/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29" name="Rectangle 28"/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0" name="Rectangle 29"/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1" name="Rectangle 30"/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3" name="Rectangle 32"/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4" name="Rectangle 33"/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5" name="Rectangle 34"/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6" name="Rectangle 35"/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7" name="Rectangle 36"/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8" name="Rectangle 37"/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  <p:sp>
          <p:nvSpPr>
            <p:cNvPr id="39" name="Rectangle 38"/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5"/>
            </a:p>
          </p:txBody>
        </p:sp>
      </p:grpSp>
      <p:grpSp>
        <p:nvGrpSpPr>
          <p:cNvPr id="28" name="Grid" hidden="1"/>
          <p:cNvGrpSpPr/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/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5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type="body" idx="1"/>
          </p:nvPr>
        </p:nvSpPr>
        <p:spPr>
          <a:xfrm>
            <a:off x="288131" y="1052513"/>
            <a:ext cx="8568929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 (14-18pt)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6" y="4843422"/>
            <a:ext cx="3240000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43422"/>
            <a:ext cx="355607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0D8026B-E60C-4F31-BD3E-34D786A82026}" type="slidenum">
              <a:rPr lang="en-US" smtClean="0"/>
            </a:fld>
            <a:endParaRPr lang="en-US"/>
          </a:p>
        </p:txBody>
      </p:sp>
      <p:pic>
        <p:nvPicPr>
          <p:cNvPr id="40" name="图片 39"/>
          <p:cNvPicPr>
            <a:picLocks noChangeAspect="1"/>
          </p:cNvPicPr>
          <p:nvPr userDrawn="1"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</p:sldLayoutIdLst>
  <p:hf hdr="0" dt="0"/>
  <p:txStyles>
    <p:titleStyle>
      <a:lvl1pPr algn="l" defTabSz="171450" rtl="0" eaLnBrk="1" latinLnBrk="0" hangingPunct="1">
        <a:lnSpc>
          <a:spcPct val="90000"/>
        </a:lnSpc>
        <a:spcBef>
          <a:spcPct val="0"/>
        </a:spcBef>
        <a:buNone/>
        <a:defRPr sz="1500" b="1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50" rtl="0" eaLnBrk="1" latinLnBrk="0" hangingPunct="1">
        <a:spcBef>
          <a:spcPts val="450"/>
        </a:spcBef>
        <a:buFont typeface="Verdana" panose="020B0604030504040204" pitchFamily="34" charset="0"/>
        <a:buNone/>
        <a:defRPr sz="900" b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00330" indent="-100330" algn="l" defTabSz="171450" rtl="0" eaLnBrk="1" latinLnBrk="0" hangingPunct="1">
        <a:spcBef>
          <a:spcPts val="450"/>
        </a:spcBef>
        <a:buFont typeface="Arial" panose="020B0604020202020204" pitchFamily="34" charset="0"/>
        <a:buChar char="•"/>
        <a:defRPr sz="9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00025" indent="-100330" algn="l" defTabSz="171450" rtl="0" eaLnBrk="1" latinLnBrk="0" hangingPunct="1">
        <a:spcBef>
          <a:spcPts val="450"/>
        </a:spcBef>
        <a:buFont typeface="Arial" panose="020B0604020202020204" pitchFamily="34" charset="0"/>
        <a:buChar char="–"/>
        <a:defRPr sz="9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00355" indent="-100330" algn="l" defTabSz="171450" rtl="0" eaLnBrk="1" latinLnBrk="0" hangingPunct="1">
        <a:spcBef>
          <a:spcPts val="450"/>
        </a:spcBef>
        <a:buFont typeface="Arial" panose="020B0604020202020204" pitchFamily="34" charset="0"/>
        <a:buChar char="–"/>
        <a:defRPr sz="82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07035" indent="-107315" algn="l" defTabSz="171450" rtl="0" eaLnBrk="1" latinLnBrk="0" hangingPunct="1">
        <a:spcBef>
          <a:spcPts val="450"/>
        </a:spcBef>
        <a:buFont typeface="Arial" panose="020B0604020202020204" pitchFamily="34" charset="0"/>
        <a:buChar char="–"/>
        <a:defRPr sz="82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5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5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slides/_rels/slide5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slides/_rels/slide5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slides/_rels/slide5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slides/_rels/slide5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image" Target="../media/image44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60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chart" Target="../charts/chart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47.png"/></Relationships>
</file>

<file path=ppt/slides/_rels/slide6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chart" Target="../charts/chart2.xml"/></Relationships>
</file>

<file path=ppt/slides/_rels/slide6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17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6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16.xml"/><Relationship Id="rId2" Type="http://schemas.openxmlformats.org/officeDocument/2006/relationships/chart" Target="../charts/chart6.xml"/><Relationship Id="rId1" Type="http://schemas.openxmlformats.org/officeDocument/2006/relationships/chart" Target="../charts/chart5.xml"/></Relationships>
</file>

<file path=ppt/slides/_rels/slide6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9.xml"/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6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0.xml"/><Relationship Id="rId4" Type="http://schemas.openxmlformats.org/officeDocument/2006/relationships/chart" Target="../charts/chart13.xml"/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6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tags" Target="../tags/tag19.xml"/><Relationship Id="rId7" Type="http://schemas.openxmlformats.org/officeDocument/2006/relationships/tags" Target="../tags/tag18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chart" Target="../charts/chart17.xml"/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0" Type="http://schemas.openxmlformats.org/officeDocument/2006/relationships/notesSlide" Target="../notesSlides/notesSlide21.xml"/><Relationship Id="rId1" Type="http://schemas.openxmlformats.org/officeDocument/2006/relationships/chart" Target="../charts/char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3.xml"/><Relationship Id="rId1" Type="http://schemas.openxmlformats.org/officeDocument/2006/relationships/image" Target="../media/image5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4.xml"/><Relationship Id="rId1" Type="http://schemas.openxmlformats.org/officeDocument/2006/relationships/image" Target="../media/image4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image" Target="../media/image3.png"/><Relationship Id="rId1" Type="http://schemas.openxmlformats.org/officeDocument/2006/relationships/image" Target="../media/image51.jpeg"/></Relationships>
</file>

<file path=ppt/slides/_rels/slide7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2.xml"/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6" Type="http://schemas.openxmlformats.org/officeDocument/2006/relationships/image" Target="../media/image2.png"/><Relationship Id="rId5" Type="http://schemas.openxmlformats.org/officeDocument/2006/relationships/image" Target="../media/image53.jpeg"/><Relationship Id="rId4" Type="http://schemas.openxmlformats.org/officeDocument/2006/relationships/tags" Target="../tags/tag21.xml"/><Relationship Id="rId3" Type="http://schemas.openxmlformats.org/officeDocument/2006/relationships/image" Target="../media/image52.emf"/><Relationship Id="rId2" Type="http://schemas.openxmlformats.org/officeDocument/2006/relationships/oleObject" Target="../embeddings/oleObject1.bin"/><Relationship Id="rId1" Type="http://schemas.openxmlformats.org/officeDocument/2006/relationships/tags" Target="../tags/tag20.xml"/></Relationships>
</file>

<file path=ppt/slides/_rels/slide7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3.xml"/><Relationship Id="rId8" Type="http://schemas.openxmlformats.org/officeDocument/2006/relationships/slideLayout" Target="../slideLayouts/slideLayout29.xml"/><Relationship Id="rId7" Type="http://schemas.openxmlformats.org/officeDocument/2006/relationships/image" Target="../media/image2.png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tags" Target="../tags/tag22.xml"/></Relationships>
</file>

<file path=ppt/slides/_rels/slide7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29.xml"/><Relationship Id="rId2" Type="http://schemas.openxmlformats.org/officeDocument/2006/relationships/image" Target="../media/image2.png"/><Relationship Id="rId1" Type="http://schemas.openxmlformats.org/officeDocument/2006/relationships/image" Target="../media/image54.jpeg"/></Relationships>
</file>

<file path=ppt/slides/_rels/slide7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9.xml"/><Relationship Id="rId3" Type="http://schemas.openxmlformats.org/officeDocument/2006/relationships/image" Target="../media/image2.png"/><Relationship Id="rId2" Type="http://schemas.openxmlformats.org/officeDocument/2006/relationships/image" Target="../media/image55.jpeg"/><Relationship Id="rId1" Type="http://schemas.openxmlformats.org/officeDocument/2006/relationships/tags" Target="../tags/tag23.xml"/></Relationships>
</file>

<file path=ppt/slides/_rels/slide7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3.png"/><Relationship Id="rId1" Type="http://schemas.openxmlformats.org/officeDocument/2006/relationships/image" Target="../media/image56.jpe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7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7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35.xml"/><Relationship Id="rId4" Type="http://schemas.openxmlformats.org/officeDocument/2006/relationships/tags" Target="../tags/tag25.xml"/><Relationship Id="rId3" Type="http://schemas.openxmlformats.org/officeDocument/2006/relationships/image" Target="../media/image57.emf"/><Relationship Id="rId2" Type="http://schemas.openxmlformats.org/officeDocument/2006/relationships/oleObject" Target="../embeddings/oleObject2.bin"/><Relationship Id="rId1" Type="http://schemas.openxmlformats.org/officeDocument/2006/relationships/tags" Target="../tags/tag24.xml"/></Relationships>
</file>

<file path=ppt/slides/_rels/slide7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8.xml"/><Relationship Id="rId6" Type="http://schemas.openxmlformats.org/officeDocument/2006/relationships/slideLayout" Target="../slideLayouts/slideLayout9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7" Type="http://schemas.openxmlformats.org/officeDocument/2006/relationships/hyperlink" Target="file:///\\xfile.igwfmc.com\igwfiles\&#24066;&#22330;&#29255;\&#24066;&#22330;&#26381;&#21153;&#37096;\&#20844;&#20849;&#30424;\&#26032;VI" TargetMode="Externa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Relationship Id="rId3" Type="http://schemas.openxmlformats.org/officeDocument/2006/relationships/image" Target="../media/image60.png"/><Relationship Id="rId2" Type="http://schemas.openxmlformats.org/officeDocument/2006/relationships/image" Target="../media/image59.svg"/><Relationship Id="rId1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/Relationships>
</file>

<file path=ppt/slides/_rels/slide8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5.xml"/><Relationship Id="rId4" Type="http://schemas.openxmlformats.org/officeDocument/2006/relationships/image" Target="../media/image66.emf"/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hyperlink" Target="file:///\\xfile.igwfmc.com\igwfiles\&#24066;&#22330;&#29255;\&#24066;&#22330;&#26381;&#21153;&#37096;\&#20844;&#20849;&#30424;\&#26032;VI" TargetMode="Externa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+mn-lt"/>
                <a:ea typeface="+mn-ea"/>
              </a:rPr>
              <a:t>2023</a:t>
            </a:r>
            <a:r>
              <a:rPr lang="zh-CN" altLang="en-US" sz="3200" dirty="0">
                <a:latin typeface="+mn-lt"/>
                <a:ea typeface="+mn-ea"/>
              </a:rPr>
              <a:t>年暑期实习答辩</a:t>
            </a:r>
            <a:endParaRPr lang="en-US" sz="2800" dirty="0">
              <a:latin typeface="+mn-lt"/>
              <a:ea typeface="+mn-ea"/>
            </a:endParaRPr>
          </a:p>
        </p:txBody>
      </p:sp>
      <p:sp>
        <p:nvSpPr>
          <p:cNvPr id="18" name="Subtitle 1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en-GB" sz="1200" dirty="0"/>
              <a:t>2023</a:t>
            </a:r>
            <a:r>
              <a:rPr lang="zh-CN" altLang="en-US" sz="1200" dirty="0"/>
              <a:t>年</a:t>
            </a:r>
            <a:r>
              <a:rPr lang="en-US" altLang="zh-CN" sz="1200" dirty="0"/>
              <a:t>8</a:t>
            </a:r>
            <a:r>
              <a:rPr lang="zh-CN" altLang="en-US" sz="1200" dirty="0"/>
              <a:t>月</a:t>
            </a:r>
            <a:r>
              <a:rPr lang="en-US" altLang="zh-CN" sz="1200" dirty="0"/>
              <a:t>30</a:t>
            </a:r>
            <a:r>
              <a:rPr lang="zh-CN" altLang="en-US" sz="1200" dirty="0"/>
              <a:t>日</a:t>
            </a:r>
            <a:endParaRPr lang="zh-CN" altLang="en-US" sz="12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0" algn="r"/>
            <a:r>
              <a:rPr lang="zh-CN" altLang="en-US"/>
              <a:t>本材料仅供内部交流使用，不视为宣传推介材料，禁止任何形式的对外发放。</a:t>
            </a:r>
            <a:endParaRPr lang="zh-CN" altLang="en-US" dirty="0"/>
          </a:p>
        </p:txBody>
      </p:sp>
      <p:sp>
        <p:nvSpPr>
          <p:cNvPr id="15" name="Title 16"/>
          <p:cNvSpPr txBox="1"/>
          <p:nvPr/>
        </p:nvSpPr>
        <p:spPr>
          <a:xfrm>
            <a:off x="292100" y="1483813"/>
            <a:ext cx="5900763" cy="5132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7145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300" b="0" kern="1200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dirty="0">
                <a:latin typeface="+mn-lt"/>
                <a:ea typeface="+mn-ea"/>
              </a:rPr>
              <a:t>交易管理部实习生</a:t>
            </a:r>
            <a:r>
              <a:rPr lang="en-US" altLang="zh-CN" sz="2400" dirty="0">
                <a:latin typeface="+mn-lt"/>
                <a:ea typeface="+mn-ea"/>
              </a:rPr>
              <a:t> </a:t>
            </a:r>
            <a:r>
              <a:rPr lang="zh-CN" altLang="en-US" sz="2400" dirty="0">
                <a:latin typeface="+mn-lt"/>
                <a:ea typeface="+mn-ea"/>
              </a:rPr>
              <a:t>念凡</a:t>
            </a:r>
            <a:endParaRPr lang="zh-CN" altLang="en-US" sz="2400" dirty="0">
              <a:latin typeface="+mn-lt"/>
              <a:ea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70" lvl="2" indent="-102870" defTabSz="128270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40" lvl="3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10" lvl="4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/>
          <p:cNvSpPr txBox="1"/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/>
          <p:cNvSpPr txBox="1"/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4" name="3" hidden="1"/>
          <p:cNvSpPr txBox="1"/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6" name="4" hidden="1"/>
          <p:cNvSpPr txBox="1"/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7" name="5" hidden="1"/>
          <p:cNvSpPr txBox="1"/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8" name="6" hidden="1"/>
          <p:cNvSpPr txBox="1"/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9" name="7" hidden="1"/>
          <p:cNvSpPr txBox="1"/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0" name="8" hidden="1"/>
          <p:cNvSpPr txBox="1"/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1" name="9" hidden="1"/>
          <p:cNvSpPr txBox="1"/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4" name="副标题 3"/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8499734" cy="1241821"/>
          </a:xfrm>
        </p:spPr>
        <p:txBody>
          <a:bodyPr/>
          <a:lstStyle/>
          <a:p>
            <a:r>
              <a:rPr lang="zh-CN" altLang="en-US" dirty="0"/>
              <a:t>选取茅台最近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9</a:t>
            </a:r>
            <a:r>
              <a:rPr lang="zh-CN" altLang="en-US" dirty="0"/>
              <a:t>月</a:t>
            </a:r>
            <a:r>
              <a:rPr lang="en-US" altLang="zh-CN" dirty="0"/>
              <a:t>1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31</a:t>
            </a:r>
            <a:r>
              <a:rPr lang="zh-CN" altLang="en-US" dirty="0"/>
              <a:t>日）共</a:t>
            </a:r>
            <a:r>
              <a:rPr lang="en-US" altLang="zh-CN" dirty="0"/>
              <a:t>167986</a:t>
            </a:r>
            <a:r>
              <a:rPr lang="zh-CN" altLang="en-US" dirty="0"/>
              <a:t>条分钟级别数据实时预报个股买卖时，输入的是（</a:t>
            </a:r>
            <a:r>
              <a:rPr lang="en-US" altLang="zh-CN" dirty="0"/>
              <a:t>167986</a:t>
            </a:r>
            <a:r>
              <a:rPr lang="zh-CN" altLang="en-US" dirty="0"/>
              <a:t>，</a:t>
            </a:r>
            <a:r>
              <a:rPr lang="en-US" altLang="zh-CN" dirty="0"/>
              <a:t>5</a:t>
            </a:r>
            <a:r>
              <a:rPr lang="zh-CN" altLang="en-US" dirty="0"/>
              <a:t>）的数据，</a:t>
            </a:r>
            <a:r>
              <a:rPr lang="en-US" altLang="zh-CN" dirty="0"/>
              <a:t>5</a:t>
            </a:r>
            <a:r>
              <a:rPr lang="zh-CN" altLang="en-US" dirty="0"/>
              <a:t>就是股票的开高低收成交量，然后根据这</a:t>
            </a:r>
            <a:r>
              <a:rPr lang="en-US" altLang="zh-CN" dirty="0"/>
              <a:t>5</a:t>
            </a:r>
            <a:r>
              <a:rPr lang="zh-CN" altLang="en-US" dirty="0"/>
              <a:t>维数据衍生出</a:t>
            </a:r>
            <a:r>
              <a:rPr lang="en-US" altLang="zh-CN" dirty="0"/>
              <a:t>311</a:t>
            </a:r>
            <a:r>
              <a:rPr lang="zh-CN" altLang="en-US" dirty="0"/>
              <a:t>维技术指标，第二步过后</a:t>
            </a:r>
            <a:r>
              <a:rPr lang="en-US" altLang="zh-CN" dirty="0" err="1"/>
              <a:t>gethtpp</a:t>
            </a:r>
            <a:r>
              <a:rPr lang="zh-CN" altLang="en-US" dirty="0"/>
              <a:t>后，</a:t>
            </a:r>
            <a:r>
              <a:rPr lang="en-US" altLang="zh-CN" dirty="0"/>
              <a:t>df</a:t>
            </a:r>
            <a:r>
              <a:rPr lang="zh-CN" altLang="en-US" dirty="0"/>
              <a:t>的形状为（</a:t>
            </a:r>
            <a:r>
              <a:rPr lang="en-US" altLang="zh-CN" dirty="0"/>
              <a:t>167432</a:t>
            </a:r>
            <a:r>
              <a:rPr lang="zh-CN" altLang="en-US" dirty="0"/>
              <a:t>，</a:t>
            </a:r>
            <a:r>
              <a:rPr lang="en-US" altLang="zh-CN" dirty="0"/>
              <a:t>294</a:t>
            </a:r>
            <a:r>
              <a:rPr lang="zh-CN" altLang="en-US" dirty="0"/>
              <a:t>），右侧长度为</a:t>
            </a:r>
            <a:r>
              <a:rPr lang="en-US" altLang="zh-CN" dirty="0"/>
              <a:t>72</a:t>
            </a:r>
            <a:r>
              <a:rPr lang="zh-CN" altLang="en-US" dirty="0"/>
              <a:t>，左侧长度为</a:t>
            </a:r>
            <a:r>
              <a:rPr lang="en-US" altLang="zh-CN" dirty="0"/>
              <a:t>36</a:t>
            </a:r>
            <a:r>
              <a:rPr lang="zh-CN" altLang="en-US" dirty="0"/>
              <a:t>，</a:t>
            </a:r>
            <a:r>
              <a:rPr lang="en-US" altLang="zh-CN" dirty="0"/>
              <a:t>Y</a:t>
            </a:r>
            <a:r>
              <a:rPr lang="zh-CN" altLang="en-US" dirty="0"/>
              <a:t>的形状为</a:t>
            </a:r>
            <a:r>
              <a:rPr lang="en-US" altLang="zh-CN" dirty="0"/>
              <a:t>167432</a:t>
            </a:r>
            <a:r>
              <a:rPr lang="zh-CN" altLang="en-US" dirty="0"/>
              <a:t>，</a:t>
            </a:r>
            <a:r>
              <a:rPr lang="en-US" altLang="zh-CN" dirty="0"/>
              <a:t>3</a:t>
            </a:r>
            <a:r>
              <a:rPr lang="zh-CN" altLang="en-US" dirty="0"/>
              <a:t>。接下来计算变量之间的相关性：这能够决定哪些指标是好的，哪些指标是噪声，除此之外，我们还要筛选出“好的指标”，茅台有</a:t>
            </a:r>
            <a:r>
              <a:rPr lang="en-US" altLang="zh-CN" dirty="0"/>
              <a:t>87</a:t>
            </a:r>
            <a:r>
              <a:rPr lang="zh-CN" altLang="en-US" dirty="0"/>
              <a:t>个好指标，</a:t>
            </a:r>
            <a:endParaRPr lang="zh-CN" altLang="en-US" dirty="0"/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交易信号</a:t>
            </a:r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页脚占位符 4"/>
          <p:cNvSpPr>
            <a:spLocks noGrp="1"/>
          </p:cNvSpPr>
          <p:nvPr>
            <p:ph type="ftr" sz="quarter" idx="23"/>
          </p:nvPr>
        </p:nvSpPr>
        <p:spPr/>
        <p:txBody>
          <a:bodyPr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文本框 5"/>
          <p:cNvSpPr txBox="1"/>
          <p:nvPr/>
        </p:nvSpPr>
        <p:spPr>
          <a:xfrm>
            <a:off x="598170" y="758825"/>
            <a:ext cx="4155440" cy="3877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茅台</a:t>
            </a:r>
            <a:r>
              <a:rPr lang="en-US" altLang="zh-CN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600519</a:t>
            </a:r>
            <a:endParaRPr lang="en-US" altLang="zh-CN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初始(167986, 5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技术指标数量(167432, 316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altLang="zh-CN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y</a:t>
            </a:r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的形状(167432, 3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选择了相关性最高的</a:t>
            </a:r>
            <a:r>
              <a:rPr lang="en-US" altLang="zh-CN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8</a:t>
            </a:r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个指标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Shapes Y: (167403, 3) X: (167403, 30, 88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Shapes: X_train: (133922, 30, 88) y_train: (133922, 3) index_train: (133922,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{0: 0.34234690225671544, 1: 25.220715630885124, 2: 25.421791951404707}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x_test.shape: (33481, 30, 88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9" name="表格 8"/>
          <p:cNvGraphicFramePr/>
          <p:nvPr/>
        </p:nvGraphicFramePr>
        <p:xfrm>
          <a:off x="3094038" y="758825"/>
          <a:ext cx="0" cy="0"/>
        </p:xfrm>
        <a:graphic>
          <a:graphicData uri="http://schemas.openxmlformats.org/drawingml/2006/table">
            <a:tbl>
              <a:tblPr/>
              <a:tblGrid>
                <a:gridCol w="1082675"/>
                <a:gridCol w="1081088"/>
                <a:gridCol w="1082675"/>
                <a:gridCol w="1081087"/>
                <a:gridCol w="1588"/>
                <a:gridCol w="1079500"/>
                <a:gridCol w="3175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recision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recall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f1-score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suppor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000" b="0">
                        <a:latin typeface="Times New Roman" panose="02020603050405020304" charset="0"/>
                      </a:endParaRPr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3257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000" b="0">
                        <a:latin typeface="Times New Roman" panose="02020603050405020304" charset="0"/>
                      </a:endParaRPr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3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8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5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45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000" b="0">
                        <a:latin typeface="Times New Roman" panose="02020603050405020304" charset="0"/>
                      </a:endParaRPr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4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7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5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45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000" b="0">
                        <a:latin typeface="Times New Roman" panose="02020603050405020304" charset="0"/>
                      </a:endParaRPr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准确率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0.97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33481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macro平均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6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8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6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3348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weightedavg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3348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0" name="文本框 99"/>
          <p:cNvSpPr txBox="1"/>
          <p:nvPr/>
        </p:nvSpPr>
        <p:spPr>
          <a:xfrm>
            <a:off x="3094038" y="2252345"/>
            <a:ext cx="5080000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en-US" b="0">
                <a:solidFill>
                  <a:srgbClr val="000000"/>
                </a:solidFill>
                <a:latin typeface="宋体" charset="0"/>
                <a:cs typeface="宋体" charset="0"/>
              </a:rPr>
              <a:t> </a:t>
            </a:r>
            <a:endParaRPr lang="en-US" altLang="en-US" b="0">
              <a:solidFill>
                <a:srgbClr val="000000"/>
              </a:solidFill>
              <a:latin typeface="宋体" charset="0"/>
              <a:cs typeface="宋体" charset="0"/>
            </a:endParaRPr>
          </a:p>
        </p:txBody>
      </p:sp>
      <p:graphicFrame>
        <p:nvGraphicFramePr>
          <p:cNvPr id="10" name="表格 9"/>
          <p:cNvGraphicFramePr/>
          <p:nvPr/>
        </p:nvGraphicFramePr>
        <p:xfrm>
          <a:off x="3094038" y="2620645"/>
          <a:ext cx="0" cy="0"/>
        </p:xfrm>
        <a:graphic>
          <a:graphicData uri="http://schemas.openxmlformats.org/drawingml/2006/table">
            <a:tbl>
              <a:tblPr/>
              <a:tblGrid>
                <a:gridCol w="1352550"/>
                <a:gridCol w="1352550"/>
                <a:gridCol w="1352550"/>
                <a:gridCol w="1354138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y_pred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y_tes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coun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er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31622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94.45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58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1.7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28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36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.0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ea typeface="宋体" charset="0"/>
                          <a:cs typeface="宋体" charset="0"/>
                        </a:rPr>
                        <a:t>360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宋体" charset="0"/>
                          <a:ea typeface="宋体" charset="0"/>
                          <a:cs typeface="宋体" charset="0"/>
                        </a:rPr>
                        <a:t>1.08</a:t>
                      </a:r>
                      <a:endParaRPr lang="en-US" altLang="en-US" sz="1200" b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33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1.0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1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9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2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28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200" b="0">
                          <a:solidFill>
                            <a:srgbClr val="000000"/>
                          </a:solidFill>
                          <a:latin typeface="宋体" charset="0"/>
                          <a:ea typeface="宋体" charset="0"/>
                          <a:cs typeface="宋体" charset="0"/>
                        </a:rPr>
                        <a:t>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0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页脚占位符 4"/>
          <p:cNvSpPr>
            <a:spLocks noGrp="1"/>
          </p:cNvSpPr>
          <p:nvPr>
            <p:ph type="ftr" sz="quarter" idx="23"/>
          </p:nvPr>
        </p:nvSpPr>
        <p:spPr/>
        <p:txBody>
          <a:bodyPr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文本框 5"/>
          <p:cNvSpPr txBox="1"/>
          <p:nvPr/>
        </p:nvSpPr>
        <p:spPr>
          <a:xfrm>
            <a:off x="598170" y="758825"/>
            <a:ext cx="3837305" cy="443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片仔癀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初始(167949, 5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技术指标数量(25447, 316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altLang="zh-CN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y</a:t>
            </a:r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的形状(25447, 3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选择了相关性最高的</a:t>
            </a:r>
            <a:r>
              <a:rPr lang="en-US" altLang="zh-CN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7</a:t>
            </a:r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个指标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Shapes Y: (25418, 3)  X:  (25418, 30, 87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Shapes: X_train:  (20334, 30, 87)  y_train:   (20334, 3)  index_train:   (20334,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0: 0.3381560566753143, 1: 48.41428571428571, 2: 45.18666666666667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TF model  , input_shape:  (30, 87)  output_shape:  3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x_test.shape:  (5084, 30, 87)</a:t>
            </a:r>
            <a:endParaRPr lang="zh-CN" altLang="en-US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7" name="表格 6"/>
          <p:cNvGraphicFramePr/>
          <p:nvPr/>
        </p:nvGraphicFramePr>
        <p:xfrm>
          <a:off x="5039043" y="811530"/>
          <a:ext cx="2150745" cy="1524000"/>
        </p:xfrm>
        <a:graphic>
          <a:graphicData uri="http://schemas.openxmlformats.org/drawingml/2006/table">
            <a:tbl>
              <a:tblPr/>
              <a:tblGrid>
                <a:gridCol w="574675"/>
                <a:gridCol w="486410"/>
                <a:gridCol w="619760"/>
                <a:gridCol w="469900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y_pred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y_test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count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per%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484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95.2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26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.48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45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89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53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4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9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18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8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16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0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0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/>
          <p:nvPr/>
        </p:nvGraphicFramePr>
        <p:xfrm>
          <a:off x="4649788" y="3016885"/>
          <a:ext cx="4148455" cy="1219200"/>
        </p:xfrm>
        <a:graphic>
          <a:graphicData uri="http://schemas.openxmlformats.org/drawingml/2006/table">
            <a:tbl>
              <a:tblPr/>
              <a:tblGrid>
                <a:gridCol w="1082675"/>
                <a:gridCol w="542925"/>
                <a:gridCol w="763905"/>
                <a:gridCol w="941070"/>
                <a:gridCol w="817880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precision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000" b="0">
                          <a:latin typeface="Calibri" charset="0"/>
                          <a:ea typeface="Calibri" charset="0"/>
                          <a:cs typeface="Calibri" charset="0"/>
                        </a:rPr>
                        <a:t>precision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000" b="0">
                          <a:latin typeface="Calibri" charset="0"/>
                          <a:ea typeface="Calibri" charset="0"/>
                          <a:cs typeface="Calibri" charset="0"/>
                        </a:rPr>
                        <a:t>recall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1000" b="0">
                          <a:latin typeface="Calibri" charset="0"/>
                          <a:ea typeface="Calibri" charset="0"/>
                          <a:cs typeface="Calibri" charset="0"/>
                        </a:rPr>
                        <a:t>f1-score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support</a:t>
                      </a:r>
                      <a:endParaRPr lang="en-US" sz="1000" b="0">
                        <a:latin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.0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9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5013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1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1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75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28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36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2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3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69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46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35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accuracy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508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macro avg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5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80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5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508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weighted avg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9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6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0.97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5084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文本占位符 3"/>
          <p:cNvSpPr>
            <a:spLocks noGrp="1"/>
          </p:cNvSpPr>
          <p:nvPr>
            <p:ph type="body" sz="quarter" idx="18"/>
          </p:nvPr>
        </p:nvSpPr>
        <p:spPr/>
        <p:txBody>
          <a:bodyPr/>
          <a:p>
            <a:r>
              <a:rPr lang="zh-CN" altLang="en-US"/>
              <a:t>山西</a:t>
            </a:r>
            <a:r>
              <a:rPr lang="zh-CN" altLang="en-US"/>
              <a:t>汾酒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23"/>
          </p:nvPr>
        </p:nvSpPr>
        <p:spPr/>
        <p:txBody>
          <a:bodyPr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6" name="文本框 5"/>
          <p:cNvSpPr txBox="1"/>
          <p:nvPr/>
        </p:nvSpPr>
        <p:spPr>
          <a:xfrm>
            <a:off x="779780" y="1103630"/>
            <a:ext cx="3650615" cy="23387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1] (167983, 5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2] (25833, 316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3] get_HT_pp df.shape: (25833, 294) 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3.1]target_Y.shape: (25833, 3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6]  get_window_data Shapes Y: (25804, 3) X: (25804, 30, 89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7] data split between training and validation 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7.1] Shapes: X_train: (20643, 30, 89) y_train: (20643, 3) index_train: (20643,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8]  {0: 0.3424405295112969, 1: 24.400709219858157, 2: 25.771535580524343}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9]  arrays to use the TF model , input_shape: (30, 89) output_shape: 3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11]  array to predict x_test.shape: (5161, 30, 89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[11.2] read the evaluation: (5161, 30, 89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800" dirty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5161,) (5161,)</a:t>
            </a:r>
            <a:endParaRPr lang="zh-CN" altLang="en-US" sz="800" dirty="0" smtClean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7" name="表格 6"/>
          <p:cNvGraphicFramePr/>
          <p:nvPr/>
        </p:nvGraphicFramePr>
        <p:xfrm>
          <a:off x="2820353" y="1171575"/>
          <a:ext cx="0" cy="0"/>
        </p:xfrm>
        <a:graphic>
          <a:graphicData uri="http://schemas.openxmlformats.org/drawingml/2006/table">
            <a:tbl>
              <a:tblPr/>
              <a:tblGrid>
                <a:gridCol w="1082675"/>
                <a:gridCol w="1081088"/>
                <a:gridCol w="1082675"/>
                <a:gridCol w="1082675"/>
                <a:gridCol w="1082675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recision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recall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f1-score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suppor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.0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502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2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35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6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2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8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3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6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accuracy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charset="0"/>
                          <a:cs typeface="Calibri" charset="0"/>
                        </a:rPr>
                        <a:t> </a:t>
                      </a:r>
                      <a:endParaRPr lang="en-US" altLang="en-US" sz="1000" b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0.92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5161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macroavg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4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8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5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516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weightedavg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9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516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表格 7"/>
          <p:cNvGraphicFramePr/>
          <p:nvPr/>
        </p:nvGraphicFramePr>
        <p:xfrm>
          <a:off x="3197543" y="3076575"/>
          <a:ext cx="0" cy="0"/>
        </p:xfrm>
        <a:graphic>
          <a:graphicData uri="http://schemas.openxmlformats.org/drawingml/2006/table">
            <a:tbl>
              <a:tblPr/>
              <a:tblGrid>
                <a:gridCol w="1352550"/>
                <a:gridCol w="1352550"/>
                <a:gridCol w="1352550"/>
                <a:gridCol w="1354138"/>
              </a:tblGrid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y_pred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y_tes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count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er%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461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89.3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2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4.26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93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3.7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6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.1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58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.1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2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9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1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宋体" charset="0"/>
                          <a:cs typeface="宋体" charset="0"/>
                        </a:rPr>
                        <a:t>0</a:t>
                      </a:r>
                      <a:endParaRPr lang="en-US" altLang="en-US" sz="1000" b="0"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1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7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0.14</a:t>
                      </a:r>
                      <a:endParaRPr lang="en-US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8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23"/>
          </p:nvPr>
        </p:nvSpPr>
        <p:spPr/>
        <p:txBody>
          <a:bodyPr/>
          <a:p>
            <a:r>
              <a:rPr lang="en-US"/>
              <a:t>Optional footer</a:t>
            </a:r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8"/>
          </p:nvPr>
        </p:nvSpPr>
        <p:spPr>
          <a:xfrm>
            <a:off x="1649730" y="2003425"/>
            <a:ext cx="5292725" cy="648970"/>
          </a:xfrm>
        </p:spPr>
        <p:txBody>
          <a:bodyPr/>
          <a:p>
            <a:r>
              <a:rPr lang="zh-CN" altLang="en-US"/>
              <a:t> dense (Dense)               (None, 30, 144)           12672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ense_1 (Dense)             (None, 30, 72)            10440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ropout (Dropout)           (None, 30, 72)            0   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ense_2 (Dense)             (None, 30, 36)            2628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ropout_1 (Dropout)         (None, 30, 36)            0   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ense_3 (Dense)             (None, 30, 12)            444 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flatten (Flatten)           (None, 360)               0   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 dense_4 (Dense)             (None, 3)                 1083      </a:t>
            </a:r>
            <a:endParaRPr lang="zh-CN" altLang="en-US"/>
          </a:p>
          <a:p>
            <a:r>
              <a:rPr lang="zh-CN" altLang="en-US"/>
              <a:t>                                                                 </a:t>
            </a:r>
            <a:endParaRPr lang="zh-CN" altLang="en-US"/>
          </a:p>
          <a:p>
            <a:r>
              <a:rPr lang="zh-CN" altLang="en-US"/>
              <a:t>=================================================================</a:t>
            </a:r>
            <a:endParaRPr lang="zh-CN" altLang="en-US"/>
          </a:p>
          <a:p>
            <a:r>
              <a:rPr lang="zh-CN" altLang="en-US"/>
              <a:t>Total params: 27267 (106.51 KB)</a:t>
            </a:r>
            <a:endParaRPr lang="zh-CN" altLang="en-US"/>
          </a:p>
          <a:p>
            <a:r>
              <a:rPr lang="zh-CN" altLang="en-US"/>
              <a:t>Trainable params: 27267 (106.51 KB)</a:t>
            </a:r>
            <a:endParaRPr lang="zh-CN" altLang="en-US"/>
          </a:p>
          <a:p>
            <a:r>
              <a:rPr lang="zh-CN" altLang="en-US"/>
              <a:t>Non-trainable params: 0 (0.00 Byte)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23"/>
          </p:nvPr>
        </p:nvSpPr>
        <p:spPr/>
        <p:txBody>
          <a:bodyPr/>
          <a:p>
            <a:r>
              <a:rPr lang="en-US"/>
              <a:t>Optional footer</a:t>
            </a:r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.91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29" y="1276632"/>
            <a:ext cx="1881850" cy="1456521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503" y="1212847"/>
            <a:ext cx="2348347" cy="163269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26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72" y="1282629"/>
            <a:ext cx="2353086" cy="1778141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636" y="1346006"/>
            <a:ext cx="2076863" cy="1492536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00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380" y="1302357"/>
            <a:ext cx="1814920" cy="1376734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21" y="1302356"/>
            <a:ext cx="1692379" cy="124471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主标题（</a:t>
            </a:r>
            <a:r>
              <a:rPr lang="en-US" altLang="zh-CN" sz="3200" dirty="0"/>
              <a:t>32</a:t>
            </a:r>
            <a:r>
              <a:rPr lang="zh-CN" altLang="en-US" sz="3200" dirty="0"/>
              <a:t>，不加粗）</a:t>
            </a:r>
            <a:endParaRPr lang="en-US" sz="3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，限两行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（</a:t>
            </a:r>
            <a:r>
              <a:rPr lang="en-US" altLang="zh-CN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,</a:t>
            </a: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不加粗）</a:t>
            </a:r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Subtitle 1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</a:t>
            </a:r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</a:t>
            </a:r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65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" y="1234968"/>
            <a:ext cx="1991136" cy="1498185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771" y="1132255"/>
            <a:ext cx="1932037" cy="143949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98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41" y="1333549"/>
            <a:ext cx="1600610" cy="1205654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102" y="1327574"/>
            <a:ext cx="1795874" cy="1314266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09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54" y="1314021"/>
            <a:ext cx="1670634" cy="1257729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778" y="1301003"/>
            <a:ext cx="1857798" cy="134076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47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79" y="1015807"/>
            <a:ext cx="2257846" cy="168804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476" y="1035780"/>
            <a:ext cx="2143796" cy="152304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63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06" y="1544855"/>
            <a:ext cx="1519758" cy="11337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612" y="1469547"/>
            <a:ext cx="1886364" cy="1382929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84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1294729"/>
            <a:ext cx="1710159" cy="1283294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919" y="1355798"/>
            <a:ext cx="1929231" cy="1392482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3200" dirty="0"/>
              <a:t>主标题（</a:t>
            </a:r>
            <a:r>
              <a:rPr lang="en-US" altLang="zh-CN" sz="3200" dirty="0"/>
              <a:t>32</a:t>
            </a:r>
            <a:r>
              <a:rPr lang="zh-CN" altLang="en-US" sz="3200" dirty="0"/>
              <a:t>，不加粗）</a:t>
            </a:r>
            <a:endParaRPr lang="en-US" sz="3200" dirty="0"/>
          </a:p>
        </p:txBody>
      </p:sp>
      <p:sp>
        <p:nvSpPr>
          <p:cNvPr id="18" name="Subtitle 17"/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457775"/>
          </a:xfrm>
        </p:spPr>
        <p:txBody>
          <a:bodyPr lIns="0" rIns="0" bIns="0"/>
          <a:lstStyle/>
          <a:p>
            <a:r>
              <a:rPr lang="zh-CN" altLang="en-US" sz="2400" dirty="0">
                <a:latin typeface="+mn-lt"/>
              </a:rPr>
              <a:t>副标题（</a:t>
            </a:r>
            <a:r>
              <a:rPr lang="en-US" altLang="zh-CN" sz="2400" dirty="0">
                <a:latin typeface="+mn-lt"/>
              </a:rPr>
              <a:t>24</a:t>
            </a:r>
            <a:r>
              <a:rPr lang="zh-CN" altLang="en-US" sz="2400" dirty="0">
                <a:latin typeface="+mn-lt"/>
              </a:rPr>
              <a:t>，不加粗）</a:t>
            </a:r>
            <a:endParaRPr lang="en-GB" sz="2400" dirty="0">
              <a:latin typeface="+mn-lt"/>
            </a:endParaRPr>
          </a:p>
          <a:p>
            <a:pPr lvl="1"/>
            <a:r>
              <a:rPr lang="en-GB" sz="1000" dirty="0"/>
              <a:t>2021</a:t>
            </a:r>
            <a:r>
              <a:rPr lang="zh-CN" altLang="en-US" sz="1000" dirty="0"/>
              <a:t>年</a:t>
            </a:r>
            <a:r>
              <a:rPr lang="en-US" altLang="zh-CN" sz="1000" dirty="0"/>
              <a:t>10</a:t>
            </a:r>
            <a:r>
              <a:rPr lang="zh-CN" altLang="en-US" sz="1000" dirty="0"/>
              <a:t>月</a:t>
            </a:r>
            <a:endParaRPr lang="en-US" sz="1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sz="8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sz="8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/>
        <p:txBody>
          <a:bodyPr lIns="0" rIns="0" bIns="0"/>
          <a:lstStyle/>
          <a:p>
            <a:r>
              <a:rPr lang="zh-CN" altLang="en-US" dirty="0"/>
              <a:t>姓名（</a:t>
            </a:r>
            <a:r>
              <a:rPr lang="en-US" altLang="zh-CN" dirty="0"/>
              <a:t>9</a:t>
            </a:r>
            <a:r>
              <a:rPr lang="zh-CN" altLang="en-US" dirty="0"/>
              <a:t>号，加粗）</a:t>
            </a:r>
            <a:endParaRPr lang="en-US" dirty="0"/>
          </a:p>
          <a:p>
            <a:pPr lvl="1"/>
            <a:r>
              <a:rPr lang="zh-CN" altLang="en-US" dirty="0"/>
              <a:t>职称（</a:t>
            </a:r>
            <a:r>
              <a:rPr lang="en-US" altLang="zh-CN" dirty="0"/>
              <a:t>9</a:t>
            </a:r>
            <a:r>
              <a:rPr lang="zh-CN" altLang="en-US" dirty="0"/>
              <a:t>号，不加粗）</a:t>
            </a:r>
            <a:endParaRPr lang="en-US" dirty="0"/>
          </a:p>
          <a:p>
            <a:r>
              <a:rPr lang="zh-CN" altLang="en-US" dirty="0"/>
              <a:t>姓名</a:t>
            </a:r>
            <a:endParaRPr lang="en-US" dirty="0"/>
          </a:p>
          <a:p>
            <a:pPr lvl="1"/>
            <a:r>
              <a:rPr lang="zh-CN" altLang="en-US" dirty="0"/>
              <a:t>职称</a:t>
            </a:r>
            <a:endParaRPr lang="en-US" dirty="0"/>
          </a:p>
          <a:p>
            <a:r>
              <a:rPr lang="zh-CN" altLang="en-US" dirty="0"/>
              <a:t>姓名</a:t>
            </a:r>
            <a:endParaRPr lang="en-US" altLang="zh-CN" dirty="0"/>
          </a:p>
          <a:p>
            <a:pPr lvl="1"/>
            <a:r>
              <a:rPr lang="zh-CN" altLang="en-US" dirty="0"/>
              <a:t>职称</a:t>
            </a:r>
            <a:endParaRPr lang="en-US" altLang="zh-CN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ph sz="quarter" idx="13"/>
            <p:custDataLst>
              <p:tags r:id="rId1"/>
            </p:custDataLst>
          </p:nvPr>
        </p:nvGraphicFramePr>
        <p:xfrm>
          <a:off x="288925" y="1052513"/>
          <a:ext cx="8571442" cy="3034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0292"/>
                <a:gridCol w="6391150"/>
              </a:tblGrid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GB" sz="12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	</a:t>
                      </a:r>
                      <a:r>
                        <a:rPr lang="zh-CN" altLang="en-GB" sz="12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背景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2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不加粗）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r>
                        <a:rPr lang="zh-CN" altLang="en-US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不加粗）</a:t>
                      </a:r>
                      <a:endParaRPr lang="zh-CN" altLang="en-US" sz="10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3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4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kumimoji="0" lang="zh-CN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目录页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GB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3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3036887"/>
          </a:xfrm>
        </p:spPr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方法：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GRU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（门控循环单元）</a:t>
            </a:r>
            <a:endParaRPr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2" indent="-182880" defTabSz="228600">
              <a:buFont typeface="Verdana" panose="020B0604030504040204" pitchFamily="34" charset="0"/>
              <a:buChar char="–"/>
            </a:pP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二级项目 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</a:t>
            </a: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号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zh-CN" spc="-1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2" indent="-182880" defTabSz="228600">
              <a:buFont typeface="Verdana" panose="020B0604030504040204" pitchFamily="34" charset="0"/>
              <a:buChar char="–"/>
            </a:pPr>
            <a:endParaRPr lang="en-US" altLang="zh-CN" spc="-1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/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lvl="2" indent="-182880" defTabSz="228600">
              <a:buFont typeface="Verdana" panose="020B0604030504040204" pitchFamily="34" charset="0"/>
              <a:buChar char="–"/>
            </a:pP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二级项目 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</a:t>
            </a: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号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zh-CN" spc="-1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交易时点选择</a:t>
            </a:r>
            <a:br>
              <a:rPr lang="en-US" altLang="zh-CN" sz="1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模型展示</a:t>
            </a:r>
            <a:endParaRPr lang="zh-CN" altLang="en-US" sz="2000" dirty="0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8" name="图片 7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68" y="1017851"/>
            <a:ext cx="3126071" cy="292749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3803" y="945131"/>
            <a:ext cx="1094361" cy="304439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099" y="945131"/>
            <a:ext cx="2492141" cy="1818722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5838092" y="2935032"/>
            <a:ext cx="18279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内预测情况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zh-CN" altLang="en-US" sz="1000" dirty="0">
                <a:solidFill>
                  <a:srgbClr val="D30547"/>
                </a:solidFill>
              </a:rPr>
              <a:t>该阴影区域将预留给注释及数据来源等内容</a:t>
            </a:r>
            <a:endParaRPr lang="en-US" altLang="zh-CN" sz="1000" dirty="0">
              <a:solidFill>
                <a:srgbClr val="D30547"/>
              </a:solidFill>
            </a:endParaRPr>
          </a:p>
        </p:txBody>
      </p:sp>
      <p:sp>
        <p:nvSpPr>
          <p:cNvPr id="2" name="内容占位符 1"/>
          <p:cNvSpPr>
            <a:spLocks noGrp="1"/>
          </p:cNvSpPr>
          <p:nvPr>
            <p:ph sz="quarter" idx="13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zh-CN" altLang="en-US" sz="1400" dirty="0">
                <a:solidFill>
                  <a:srgbClr val="D30547"/>
                </a:solidFill>
              </a:rPr>
              <a:t>该阴影区域将预留给幻灯片的主体内容</a:t>
            </a:r>
            <a:r>
              <a:rPr lang="en-US" altLang="zh-CN" sz="1400" dirty="0">
                <a:solidFill>
                  <a:srgbClr val="D30547"/>
                </a:solidFill>
              </a:rPr>
              <a:t>(</a:t>
            </a:r>
            <a:r>
              <a:rPr lang="zh-CN" altLang="en-US" sz="1400" dirty="0">
                <a:solidFill>
                  <a:srgbClr val="D30547"/>
                </a:solidFill>
              </a:rPr>
              <a:t>文本、图表、表格、图形等</a:t>
            </a:r>
            <a:r>
              <a:rPr lang="en-US" altLang="zh-CN" sz="1400" dirty="0">
                <a:solidFill>
                  <a:srgbClr val="D30547"/>
                </a:solidFill>
              </a:rPr>
              <a:t>)</a:t>
            </a:r>
            <a:r>
              <a:rPr lang="zh-CN" altLang="en-US" sz="1400" dirty="0">
                <a:solidFill>
                  <a:srgbClr val="D30547"/>
                </a:solidFill>
              </a:rPr>
              <a:t>。主体内容不应该超出这个阴影区域。</a:t>
            </a:r>
            <a:endParaRPr lang="en-US" altLang="zh-CN" sz="1400" dirty="0">
              <a:solidFill>
                <a:srgbClr val="D30547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/>
              <a:t>参考线</a:t>
            </a:r>
            <a:br>
              <a:rPr lang="zh-CN" altLang="en-US" dirty="0"/>
            </a:br>
            <a:r>
              <a:rPr lang="zh-CN" altLang="en-US" sz="1600" dirty="0"/>
              <a:t>使用规范说明</a:t>
            </a:r>
            <a:endParaRPr lang="en-GB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金山办公</a:t>
            </a:r>
            <a:r>
              <a:rPr lang="en-US" altLang="zh-CN" dirty="0"/>
              <a:t>688111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4" name="内容占位符 13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79" y="1314684"/>
            <a:ext cx="2086028" cy="1626743"/>
          </a:xfr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49" y="1392927"/>
            <a:ext cx="1929995" cy="1421011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171" y="398958"/>
            <a:ext cx="1027263" cy="2873486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70" y="1139600"/>
            <a:ext cx="2843917" cy="2211302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浦发银行</a:t>
            </a:r>
            <a:r>
              <a:rPr lang="en-US" altLang="zh-CN" dirty="0"/>
              <a:t>600000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168" y="603997"/>
            <a:ext cx="911338" cy="273679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290" y="1284002"/>
            <a:ext cx="1550699" cy="1160757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02" y="928368"/>
            <a:ext cx="2271018" cy="1685459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白云机场</a:t>
            </a:r>
            <a:r>
              <a:rPr lang="en-US" altLang="zh-CN" dirty="0"/>
              <a:t>600004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464" y="900953"/>
            <a:ext cx="2356461" cy="1836718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509" y="492369"/>
            <a:ext cx="924674" cy="2615312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78" y="1196236"/>
            <a:ext cx="1750484" cy="1249473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海科</a:t>
            </a:r>
            <a:r>
              <a:rPr lang="en-US" altLang="zh-CN" dirty="0"/>
              <a:t>B(</a:t>
            </a:r>
            <a:r>
              <a:rPr lang="zh-CN" altLang="en-US" dirty="0"/>
              <a:t>不太对）</a:t>
            </a:r>
            <a:r>
              <a:rPr lang="en-US" altLang="zh-CN" dirty="0"/>
              <a:t>900938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377" y="931377"/>
            <a:ext cx="2749273" cy="2049812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265" y="402038"/>
            <a:ext cx="834317" cy="3108491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53" y="1257135"/>
            <a:ext cx="1481682" cy="1134374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德龙激光</a:t>
            </a:r>
            <a:r>
              <a:rPr lang="en-US" altLang="zh-CN" dirty="0"/>
              <a:t>688170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685" y="571976"/>
            <a:ext cx="2440501" cy="1875757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205" y="629324"/>
            <a:ext cx="960314" cy="3240879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132" y="1039725"/>
            <a:ext cx="2277534" cy="1741842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金科股份</a:t>
            </a:r>
            <a:r>
              <a:rPr lang="en-US" altLang="zh-CN" dirty="0"/>
              <a:t>000656.SZ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424" y="1046557"/>
            <a:ext cx="2057889" cy="152519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801" y="274660"/>
            <a:ext cx="892314" cy="3271972"/>
          </a:xfrm>
          <a:prstGeom prst="rect">
            <a:avLst/>
          </a:prstGeom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481" y="993010"/>
            <a:ext cx="1877156" cy="1434911"/>
          </a:xfrm>
        </p:spPr>
      </p:pic>
      <p:sp>
        <p:nvSpPr>
          <p:cNvPr id="4" name="页脚占位符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剑桥科技</a:t>
            </a:r>
            <a:r>
              <a:rPr lang="en-US" altLang="zh-CN" dirty="0"/>
              <a:t>603083 (</a:t>
            </a:r>
            <a:r>
              <a:rPr lang="zh-CN" altLang="en-US" dirty="0"/>
              <a:t>用到未来信息了）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278" y="920848"/>
            <a:ext cx="2082023" cy="157923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858" y="993010"/>
            <a:ext cx="992478" cy="2523235"/>
          </a:xfrm>
          <a:prstGeom prst="rect">
            <a:avLst/>
          </a:prstGeom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 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 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eaLnBrk="0"/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论点展示（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两栏（</a:t>
            </a:r>
            <a:r>
              <a:rPr lang="en-US" altLang="zh-CN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6" name="Table 6"/>
          <p:cNvGraphicFramePr>
            <a:graphicFrameLocks noGrp="1"/>
          </p:cNvGraphicFramePr>
          <p:nvPr>
            <p:ph idx="1"/>
          </p:nvPr>
        </p:nvGraphicFramePr>
        <p:xfrm>
          <a:off x="288925" y="1052513"/>
          <a:ext cx="8569325" cy="2487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13865"/>
                <a:gridCol w="1713865"/>
                <a:gridCol w="1713865"/>
                <a:gridCol w="1713865"/>
                <a:gridCol w="1713865"/>
              </a:tblGrid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lang="en-GB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表格（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带高亮行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6" name="Table 6"/>
          <p:cNvGraphicFramePr>
            <a:graphicFrameLocks noGrp="1"/>
          </p:cNvGraphicFramePr>
          <p:nvPr>
            <p:ph idx="1"/>
          </p:nvPr>
        </p:nvGraphicFramePr>
        <p:xfrm>
          <a:off x="288925" y="1052511"/>
          <a:ext cx="8569324" cy="28844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9158"/>
                <a:gridCol w="3558423"/>
                <a:gridCol w="3691743"/>
              </a:tblGrid>
              <a:tr h="32910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项目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详情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详情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</a:tr>
              <a:tr h="851795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5179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kumimoji="0" lang="en-GB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5179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kumimoji="0" lang="en-GB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8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60" marR="0" lvl="2" indent="-182880" algn="l" defTabSz="228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anose="020B0604030504040204" pitchFamily="34" charset="0"/>
                        <a:buChar char="–"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表格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人物介绍</a:t>
            </a:r>
            <a:endParaRPr lang="zh-CN" alt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288130" y="1052513"/>
            <a:ext cx="1472407" cy="648812"/>
          </a:xfrm>
        </p:spPr>
        <p:txBody>
          <a:bodyPr/>
          <a:lstStyle/>
          <a:p>
            <a:pPr lvl="0"/>
            <a:r>
              <a:rPr lang="zh-CN" altLang="en-US" sz="12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念凡</a:t>
            </a:r>
            <a:endParaRPr lang="en-US" altLang="zh-CN" sz="12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交易管理部</a:t>
            </a:r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实习生</a:t>
            </a:r>
            <a:endParaRPr lang="zh-CN" alt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/>
          <p:cNvGraphicFramePr/>
          <p:nvPr/>
        </p:nvGraphicFramePr>
        <p:xfrm>
          <a:off x="286943" y="1054100"/>
          <a:ext cx="4145357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cxnSp>
        <p:nvCxnSpPr>
          <p:cNvPr id="15" name="top_border"/>
          <p:cNvCxnSpPr/>
          <p:nvPr>
            <p:custDataLst>
              <p:tags r:id="rId2"/>
            </p:custDataLst>
          </p:nvPr>
        </p:nvCxnSpPr>
        <p:spPr>
          <a:xfrm>
            <a:off x="286943" y="1054100"/>
            <a:ext cx="4145357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4711700" y="1291171"/>
            <a:ext cx="828040" cy="390312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0/B120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0078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023860" y="1291171"/>
            <a:ext cx="828040" cy="39031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5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52/B250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98FA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367780" y="1291171"/>
            <a:ext cx="828040" cy="390312"/>
          </a:xfrm>
          <a:prstGeom prst="rect">
            <a:avLst/>
          </a:prstGeom>
          <a:solidFill>
            <a:srgbClr val="0046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3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70/B255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46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539740" y="1291171"/>
            <a:ext cx="828040" cy="390312"/>
          </a:xfrm>
          <a:prstGeom prst="rect">
            <a:avLst/>
          </a:prstGeom>
          <a:solidFill>
            <a:srgbClr val="000AD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2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0/B210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0AD2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195820" y="1291171"/>
            <a:ext cx="828040" cy="390312"/>
          </a:xfrm>
          <a:prstGeom prst="rect">
            <a:avLst/>
          </a:prstGeom>
          <a:solidFill>
            <a:srgbClr val="0573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4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15/B255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73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539740" y="1693375"/>
            <a:ext cx="828040" cy="390312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7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72/G63/B205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483FCD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195820" y="1693375"/>
            <a:ext cx="828040" cy="390312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9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45/G128/B255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9180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367780" y="1693375"/>
            <a:ext cx="828040" cy="390312"/>
          </a:xfrm>
          <a:prstGeom prst="rect">
            <a:avLst/>
          </a:prstGeom>
          <a:solidFill>
            <a:srgbClr val="6951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8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05/G81/B255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6951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711700" y="1693375"/>
            <a:ext cx="828040" cy="390312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6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6/G49/B160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3831A0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711700" y="2095579"/>
            <a:ext cx="828040" cy="390312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1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80/G54/B232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B436E8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023860" y="1693375"/>
            <a:ext cx="828040" cy="390312"/>
          </a:xfrm>
          <a:prstGeom prst="rect">
            <a:avLst/>
          </a:prstGeom>
          <a:solidFill>
            <a:srgbClr val="84268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0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32/G38/B133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842685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539740" y="2095579"/>
            <a:ext cx="828040" cy="390312"/>
          </a:xfrm>
          <a:prstGeom prst="rect">
            <a:avLst/>
          </a:prstGeom>
          <a:solidFill>
            <a:srgbClr val="30B39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2</a:t>
            </a:r>
            <a:endParaRPr lang="pt-BR" sz="8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43/G166/B148</a:t>
            </a:r>
            <a:endParaRPr lang="pt-BR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2BA694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7195820" y="2095579"/>
            <a:ext cx="828040" cy="390312"/>
          </a:xfrm>
          <a:prstGeom prst="rect">
            <a:avLst/>
          </a:prstGeom>
          <a:solidFill>
            <a:srgbClr val="01594C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4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/G89/B76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1594C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367780" y="2095579"/>
            <a:ext cx="828040" cy="390312"/>
          </a:xfrm>
          <a:prstGeom prst="rect">
            <a:avLst/>
          </a:prstGeom>
          <a:solidFill>
            <a:srgbClr val="007F6B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3</a:t>
            </a:r>
            <a:endParaRPr lang="pt-BR" sz="800" b="1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27/B107</a:t>
            </a:r>
            <a:endParaRPr lang="pt-BR" sz="8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7F6B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711700" y="3679336"/>
            <a:ext cx="690033" cy="410064"/>
          </a:xfrm>
          <a:prstGeom prst="rect">
            <a:avLst/>
          </a:prstGeom>
          <a:solidFill>
            <a:srgbClr val="D5221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ed</a:t>
            </a:r>
            <a:endParaRPr lang="en-US" sz="7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13/G34/B25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D52219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401733" y="3221873"/>
            <a:ext cx="690033" cy="410064"/>
          </a:xfrm>
          <a:prstGeom prst="rect">
            <a:avLst/>
          </a:prstGeom>
          <a:solidFill>
            <a:srgbClr val="0598F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id Blue</a:t>
            </a:r>
            <a:endParaRPr lang="en-US" sz="7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52/B250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98FA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091767" y="3679336"/>
            <a:ext cx="690033" cy="410064"/>
          </a:xfrm>
          <a:prstGeom prst="rect">
            <a:avLst/>
          </a:prstGeom>
          <a:solidFill>
            <a:srgbClr val="F9670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Orange</a:t>
            </a:r>
            <a:endParaRPr lang="pt-BR" sz="7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49/G103/B6</a:t>
            </a:r>
            <a:endParaRPr lang="pt-BR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F97F66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401733" y="3679336"/>
            <a:ext cx="690033" cy="410064"/>
          </a:xfrm>
          <a:prstGeom prst="rect">
            <a:avLst/>
          </a:prstGeom>
          <a:solidFill>
            <a:srgbClr val="00B76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Green</a:t>
            </a:r>
            <a:endParaRPr lang="pt-BR" sz="7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83/B96</a:t>
            </a:r>
            <a:endParaRPr lang="pt-BR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B760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711700" y="3221873"/>
            <a:ext cx="690033" cy="410064"/>
          </a:xfrm>
          <a:prstGeom prst="rect">
            <a:avLst/>
          </a:prstGeom>
          <a:solidFill>
            <a:srgbClr val="5FF0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Icy Blue</a:t>
            </a:r>
            <a:endParaRPr lang="en-US" sz="700" b="1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spc="-19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95/G240/B255</a:t>
            </a:r>
            <a:endParaRPr lang="en-US" sz="700" spc="-19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5FF0FF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86943" y="1054100"/>
            <a:ext cx="33485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色板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711700" y="1054100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色板（按颜色相近度排列）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57" name="top_border"/>
          <p:cNvCxnSpPr/>
          <p:nvPr>
            <p:custDataLst>
              <p:tags r:id="rId3"/>
            </p:custDataLst>
          </p:nvPr>
        </p:nvCxnSpPr>
        <p:spPr>
          <a:xfrm>
            <a:off x="4711700" y="1054100"/>
            <a:ext cx="41402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4711700" y="2568459"/>
            <a:ext cx="24841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强调色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59" name="top_border"/>
          <p:cNvCxnSpPr/>
          <p:nvPr>
            <p:custDataLst>
              <p:tags r:id="rId4"/>
            </p:custDataLst>
          </p:nvPr>
        </p:nvCxnSpPr>
        <p:spPr>
          <a:xfrm>
            <a:off x="4711700" y="2568459"/>
            <a:ext cx="26670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1763115" y="4828575"/>
            <a:ext cx="5902923" cy="136525"/>
          </a:xfrm>
        </p:spPr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颜色</a:t>
            </a:r>
            <a:b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458638" y="2852542"/>
            <a:ext cx="64120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强调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6116182" y="3362579"/>
            <a:ext cx="10259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强调：高亮行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6812597" y="3801814"/>
            <a:ext cx="10259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强调：强对比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37" name="top_border"/>
          <p:cNvCxnSpPr/>
          <p:nvPr>
            <p:custDataLst>
              <p:tags r:id="rId5"/>
            </p:custDataLst>
          </p:nvPr>
        </p:nvCxnSpPr>
        <p:spPr>
          <a:xfrm>
            <a:off x="7666038" y="2578100"/>
            <a:ext cx="11858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7"/>
          <p:cNvSpPr txBox="1"/>
          <p:nvPr/>
        </p:nvSpPr>
        <p:spPr>
          <a:xfrm>
            <a:off x="7666039" y="2584744"/>
            <a:ext cx="11858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表格背景色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5" name="Rectangle 52"/>
          <p:cNvSpPr/>
          <p:nvPr/>
        </p:nvSpPr>
        <p:spPr>
          <a:xfrm>
            <a:off x="7666038" y="2779893"/>
            <a:ext cx="760631" cy="410064"/>
          </a:xfrm>
          <a:prstGeom prst="rect">
            <a:avLst/>
          </a:prstGeom>
          <a:solidFill>
            <a:schemeClr val="bg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Light Gray</a:t>
            </a:r>
            <a:endParaRPr lang="en-US" sz="700" b="1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40/G240/B240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F0F0F0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8" name="Rectangle 38"/>
          <p:cNvSpPr/>
          <p:nvPr/>
        </p:nvSpPr>
        <p:spPr>
          <a:xfrm>
            <a:off x="4710006" y="2764410"/>
            <a:ext cx="690033" cy="410064"/>
          </a:xfrm>
          <a:prstGeom prst="rect">
            <a:avLst/>
          </a:prstGeom>
          <a:solidFill>
            <a:srgbClr val="D5221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ed</a:t>
            </a:r>
            <a:endParaRPr lang="en-US" sz="700" b="1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13/G34/B25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D52219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/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色板</a:t>
            </a:r>
            <a:br>
              <a:rPr 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仅供数据图表中使用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97609" y="1066726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en-US" altLang="zh-CN" sz="1200" b="1" dirty="0">
                <a:solidFill>
                  <a:schemeClr val="dk1"/>
                </a:solidFill>
              </a:rPr>
              <a:t>2</a:t>
            </a:r>
            <a:r>
              <a:rPr lang="zh-CN" altLang="en-US" sz="1200" b="1" dirty="0">
                <a:solidFill>
                  <a:schemeClr val="dk1"/>
                </a:solidFill>
              </a:rPr>
              <a:t>种颜色</a:t>
            </a:r>
            <a:endParaRPr lang="en-US" sz="1200" b="1" dirty="0">
              <a:solidFill>
                <a:schemeClr val="dk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73200" y="1576161"/>
            <a:ext cx="6037489" cy="2852665"/>
          </a:xfrm>
          <a:prstGeom prst="rect">
            <a:avLst/>
          </a:prstGeom>
        </p:spPr>
      </p:pic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/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色板</a:t>
            </a:r>
            <a:br>
              <a:rPr 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仅供数据图表中使用</a:t>
            </a:r>
            <a:endParaRPr lang="en-US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88900" y="1062809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30"/>
              </a:spcBef>
              <a:buClr>
                <a:srgbClr val="000000"/>
              </a:buClr>
            </a:pPr>
            <a:r>
              <a:rPr lang="en-US" altLang="zh-CN" sz="1200" b="1" dirty="0">
                <a:solidFill>
                  <a:schemeClr val="dk1"/>
                </a:solidFill>
              </a:rPr>
              <a:t>3-14</a:t>
            </a:r>
            <a:r>
              <a:rPr lang="zh-CN" altLang="en-US" sz="1200" b="1" dirty="0">
                <a:solidFill>
                  <a:schemeClr val="dk1"/>
                </a:solidFill>
              </a:rPr>
              <a:t>种颜色使用顺序</a:t>
            </a:r>
            <a:endParaRPr lang="en-US" sz="1200" b="1" dirty="0">
              <a:solidFill>
                <a:schemeClr val="dk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1409331"/>
            <a:ext cx="4397174" cy="208829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3364" y="1423928"/>
            <a:ext cx="4455712" cy="1492664"/>
          </a:xfrm>
          <a:prstGeom prst="rect">
            <a:avLst/>
          </a:prstGeom>
        </p:spPr>
      </p:pic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9" name="Chart Placeholder 8"/>
          <p:cNvGraphicFramePr>
            <a:graphicFrameLocks noGrp="1"/>
          </p:cNvGraphicFramePr>
          <p:nvPr>
            <p:ph idx="13"/>
          </p:nvPr>
        </p:nvGraphicFramePr>
        <p:xfrm>
          <a:off x="287338" y="1057275"/>
          <a:ext cx="8569325" cy="287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一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</p:nvPr>
        </p:nvGraphicFramePr>
        <p:xfrm>
          <a:off x="287338" y="1058863"/>
          <a:ext cx="8567737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61583"/>
          </a:xfrm>
        </p:spPr>
        <p:txBody>
          <a:bodyPr lIns="13716" rIns="0" bIns="0"/>
          <a:lstStyle/>
          <a:p>
            <a:r>
              <a:rPr lang="zh-CN" altLang="en-US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5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15" name="Content Placeholder 3"/>
          <p:cNvGraphicFramePr>
            <a:graphicFrameLocks noGrp="1"/>
          </p:cNvGraphicFramePr>
          <p:nvPr>
            <p:ph idx="23"/>
          </p:nvPr>
        </p:nvGraphicFramePr>
        <p:xfrm>
          <a:off x="284163" y="2553217"/>
          <a:ext cx="8567737" cy="135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1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两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25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3"/>
          </p:nvPr>
        </p:nvGraphicFramePr>
        <p:xfrm>
          <a:off x="287338" y="1058863"/>
          <a:ext cx="4143375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20" name="Content Placeholder 3"/>
          <p:cNvGraphicFramePr>
            <a:graphicFrameLocks noGrp="1"/>
          </p:cNvGraphicFramePr>
          <p:nvPr>
            <p:ph idx="23"/>
          </p:nvPr>
        </p:nvGraphicFramePr>
        <p:xfrm>
          <a:off x="4713288" y="1058863"/>
          <a:ext cx="4141787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53888"/>
          </a:xfrm>
        </p:spPr>
        <p:txBody>
          <a:bodyPr lIns="0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两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37" name="Content Placeholder 3"/>
          <p:cNvGraphicFramePr>
            <a:graphicFrameLocks noGrp="1"/>
          </p:cNvGraphicFramePr>
          <p:nvPr>
            <p:ph idx="13"/>
          </p:nvPr>
        </p:nvGraphicFramePr>
        <p:xfrm>
          <a:off x="288925" y="1058863"/>
          <a:ext cx="2662238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44" name="Content Placeholder 3"/>
          <p:cNvGraphicFramePr>
            <a:graphicFrameLocks noGrp="1"/>
          </p:cNvGraphicFramePr>
          <p:nvPr>
            <p:ph idx="18"/>
          </p:nvPr>
        </p:nvGraphicFramePr>
        <p:xfrm>
          <a:off x="3241675" y="1058863"/>
          <a:ext cx="2660650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45" name="Content Placeholder 3"/>
          <p:cNvGraphicFramePr>
            <a:graphicFrameLocks noGrp="1"/>
          </p:cNvGraphicFramePr>
          <p:nvPr>
            <p:ph idx="20"/>
          </p:nvPr>
        </p:nvGraphicFramePr>
        <p:xfrm>
          <a:off x="6194425" y="1058863"/>
          <a:ext cx="2662238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三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9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graphicFrame>
        <p:nvGraphicFramePr>
          <p:cNvPr id="23" name="Content Placeholder 3"/>
          <p:cNvGraphicFramePr>
            <a:graphicFrameLocks noGrp="1"/>
          </p:cNvGraphicFramePr>
          <p:nvPr>
            <p:ph idx="13"/>
          </p:nvPr>
        </p:nvGraphicFramePr>
        <p:xfrm>
          <a:off x="290513" y="1058863"/>
          <a:ext cx="2012950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7"/>
          </p:nvPr>
        </p:nvSpPr>
        <p:spPr>
          <a:xfrm>
            <a:off x="320561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50" name="Content Placeholder 3"/>
          <p:cNvGraphicFramePr>
            <a:graphicFrameLocks noGrp="1"/>
          </p:cNvGraphicFramePr>
          <p:nvPr>
            <p:ph idx="18"/>
          </p:nvPr>
        </p:nvGraphicFramePr>
        <p:xfrm>
          <a:off x="2473325" y="1058863"/>
          <a:ext cx="2011363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51" name="Content Placeholder 3"/>
          <p:cNvGraphicFramePr>
            <a:graphicFrameLocks noGrp="1"/>
          </p:cNvGraphicFramePr>
          <p:nvPr>
            <p:ph idx="20"/>
          </p:nvPr>
        </p:nvGraphicFramePr>
        <p:xfrm>
          <a:off x="4656138" y="1058863"/>
          <a:ext cx="2011362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idx="26"/>
          </p:nvPr>
        </p:nvSpPr>
        <p:spPr>
          <a:xfrm>
            <a:off x="4688814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52" name="Content Placeholder 3"/>
          <p:cNvGraphicFramePr>
            <a:graphicFrameLocks noGrp="1"/>
          </p:cNvGraphicFramePr>
          <p:nvPr>
            <p:ph idx="31"/>
          </p:nvPr>
        </p:nvGraphicFramePr>
        <p:xfrm>
          <a:off x="6838950" y="1058863"/>
          <a:ext cx="2011363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32"/>
          </p:nvPr>
        </p:nvSpPr>
        <p:spPr>
          <a:xfrm>
            <a:off x="6871354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四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ontent Placeholder 3"/>
          <p:cNvGraphicFramePr/>
          <p:nvPr/>
        </p:nvGraphicFramePr>
        <p:xfrm>
          <a:off x="4711701" y="2574925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4" name="Content Placeholder 3"/>
          <p:cNvGraphicFramePr/>
          <p:nvPr/>
        </p:nvGraphicFramePr>
        <p:xfrm>
          <a:off x="292100" y="2574925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Content Placeholder 3"/>
          <p:cNvGraphicFramePr/>
          <p:nvPr/>
        </p:nvGraphicFramePr>
        <p:xfrm>
          <a:off x="4711701" y="1058862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ontent Placeholder 3"/>
          <p:cNvGraphicFramePr/>
          <p:nvPr/>
        </p:nvGraphicFramePr>
        <p:xfrm>
          <a:off x="292100" y="1058862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 t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*2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栏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0" name="top_border"/>
          <p:cNvCxnSpPr/>
          <p:nvPr>
            <p:custDataLst>
              <p:tags r:id="rId5"/>
            </p:custDataLst>
          </p:nvPr>
        </p:nvCxnSpPr>
        <p:spPr>
          <a:xfrm>
            <a:off x="287339" y="1058863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_border"/>
          <p:cNvCxnSpPr/>
          <p:nvPr>
            <p:custDataLst>
              <p:tags r:id="rId6"/>
            </p:custDataLst>
          </p:nvPr>
        </p:nvCxnSpPr>
        <p:spPr>
          <a:xfrm>
            <a:off x="4711701" y="1058863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top_border"/>
          <p:cNvCxnSpPr/>
          <p:nvPr>
            <p:custDataLst>
              <p:tags r:id="rId7"/>
            </p:custDataLst>
          </p:nvPr>
        </p:nvCxnSpPr>
        <p:spPr>
          <a:xfrm>
            <a:off x="4711701" y="2574925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_border"/>
          <p:cNvCxnSpPr/>
          <p:nvPr>
            <p:custDataLst>
              <p:tags r:id="rId8"/>
            </p:custDataLst>
          </p:nvPr>
        </p:nvCxnSpPr>
        <p:spPr>
          <a:xfrm>
            <a:off x="287338" y="2574925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5"/>
          <p:cNvSpPr txBox="1"/>
          <p:nvPr/>
        </p:nvSpPr>
        <p:spPr>
          <a:xfrm>
            <a:off x="4747826" y="1075158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6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9" name="Text Placeholder 15"/>
          <p:cNvSpPr txBox="1"/>
          <p:nvPr/>
        </p:nvSpPr>
        <p:spPr>
          <a:xfrm>
            <a:off x="324255" y="2594383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6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0" name="Text Placeholder 15"/>
          <p:cNvSpPr txBox="1"/>
          <p:nvPr/>
        </p:nvSpPr>
        <p:spPr>
          <a:xfrm>
            <a:off x="4747826" y="2594383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6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5" name="Text Placeholder 15"/>
          <p:cNvSpPr txBox="1"/>
          <p:nvPr/>
        </p:nvSpPr>
        <p:spPr>
          <a:xfrm>
            <a:off x="324255" y="1075158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6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sz="10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占位符 9"/>
          <p:cNvPicPr>
            <a:picLocks noGrp="1" noChangeAspect="1"/>
          </p:cNvPicPr>
          <p:nvPr>
            <p:ph type="pic" sz="quarter" idx="2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7" r="19457"/>
          <a:stretch>
            <a:fillRect/>
          </a:stretch>
        </p:blipFill>
        <p:spPr>
          <a:xfrm>
            <a:off x="3240033" y="0"/>
            <a:ext cx="5905500" cy="5143500"/>
          </a:xfr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1763115" y="4820960"/>
            <a:ext cx="5902923" cy="136525"/>
          </a:xfrm>
        </p:spPr>
        <p:txBody>
          <a:bodyPr/>
          <a:lstStyle/>
          <a:p>
            <a:pPr lvl="0"/>
            <a:r>
              <a:rPr lang="zh-CN" altLang="en-US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可选页脚（例：仅供内部参考）</a:t>
            </a:r>
            <a:endParaRPr lang="zh-CN" altLang="en-US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</a:rPr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2" name="Picture Placeholder 52" descr="A person smiling for the camera&#10;&#10;Description automatically generated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>
            <a:fillRect/>
          </a:stretch>
        </p:blipFill>
        <p:spPr/>
      </p:pic>
      <p:pic>
        <p:nvPicPr>
          <p:cNvPr id="61" name="Picture Placeholder 52" descr="A person smiling for the camera&#10;&#10;Description automatically generated"/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>
            <a:fillRect/>
          </a:stretch>
        </p:blipFill>
        <p:spPr/>
      </p:pic>
      <p:pic>
        <p:nvPicPr>
          <p:cNvPr id="60" name="Picture Placeholder 52" descr="A person smiling for the camera&#10;&#10;Description automatically generated"/>
          <p:cNvPicPr>
            <a:picLocks noGrp="1" noChangeAspect="1"/>
          </p:cNvPicPr>
          <p:nvPr>
            <p:ph type="pic" sz="quarter" idx="42"/>
          </p:nvPr>
        </p:nvPicPr>
        <p:blipFill rotWithShape="1">
          <a:blip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>
            <a:fillRect/>
          </a:stretch>
        </p:blipFill>
        <p:spPr/>
      </p:pic>
      <p:pic>
        <p:nvPicPr>
          <p:cNvPr id="53" name="Picture Placeholder 52" descr="A person smiling for the camera&#10;&#10;Description automatically generated"/>
          <p:cNvPicPr>
            <a:picLocks noGrp="1" noChangeAspect="1"/>
          </p:cNvPicPr>
          <p:nvPr>
            <p:ph type="pic" sz="quarter" idx="44"/>
          </p:nvPr>
        </p:nvPicPr>
        <p:blipFill rotWithShape="1">
          <a:blip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>
            <a:fillRect/>
          </a:stretch>
        </p:blipFill>
        <p:spPr>
          <a:xfrm>
            <a:off x="286942" y="1060684"/>
            <a:ext cx="857117" cy="857131"/>
          </a:xfrm>
        </p:spPr>
      </p:pic>
      <p:sp>
        <p:nvSpPr>
          <p:cNvPr id="16" name="Text Placeholder 15"/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85" name="Table 85"/>
          <p:cNvGraphicFramePr>
            <a:graphicFrameLocks noGrp="1"/>
          </p:cNvGraphicFramePr>
          <p:nvPr>
            <p:ph sz="quarter" idx="39"/>
          </p:nvPr>
        </p:nvGraphicFramePr>
        <p:xfrm>
          <a:off x="6935788" y="2576513"/>
          <a:ext cx="1920874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0874"/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endParaRPr lang="en-GB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941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02" name="Table 85"/>
          <p:cNvGraphicFramePr>
            <a:graphicFrameLocks noGrp="1"/>
          </p:cNvGraphicFramePr>
          <p:nvPr>
            <p:ph sz="quarter" idx="41"/>
          </p:nvPr>
        </p:nvGraphicFramePr>
        <p:xfrm>
          <a:off x="4719638" y="2576513"/>
          <a:ext cx="1919287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7"/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endParaRPr lang="en-GB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941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03" name="Table 85"/>
          <p:cNvGraphicFramePr>
            <a:graphicFrameLocks noGrp="1"/>
          </p:cNvGraphicFramePr>
          <p:nvPr>
            <p:ph sz="quarter" idx="43"/>
          </p:nvPr>
        </p:nvGraphicFramePr>
        <p:xfrm>
          <a:off x="2503488" y="2576513"/>
          <a:ext cx="1919287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7"/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941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04" name="Table 85"/>
          <p:cNvGraphicFramePr>
            <a:graphicFrameLocks noGrp="1"/>
          </p:cNvGraphicFramePr>
          <p:nvPr>
            <p:ph sz="quarter" idx="45"/>
          </p:nvPr>
        </p:nvGraphicFramePr>
        <p:xfrm>
          <a:off x="287338" y="2576513"/>
          <a:ext cx="1919288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8"/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r>
                        <a:rPr lang="en-GB" sz="800" b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010</a:t>
                      </a:r>
                      <a:endParaRPr lang="en-GB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en-GB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010</a:t>
                      </a:r>
                      <a:endParaRPr lang="en-GB" sz="800" b="0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487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硕士</a:t>
                      </a:r>
                      <a:endParaRPr lang="en-US" sz="800" b="0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941">
                <a:tc>
                  <a:txBody>
                    <a:bodyPr/>
                    <a:lstStyle/>
                    <a:p>
                      <a:pPr marL="0" algn="l" defTabSz="1219200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200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基金经理介绍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8900" y="567000"/>
            <a:ext cx="8583168" cy="3807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 defTabSz="171450">
              <a:lnSpc>
                <a:spcPct val="113000"/>
              </a:lnSpc>
              <a:spcBef>
                <a:spcPts val="0"/>
              </a:spcBef>
              <a:buFont typeface="Verdana" panose="020B0604030504040204" pitchFamily="34" charset="0"/>
              <a:buNone/>
              <a:defRPr sz="1050" b="0" spc="0" baseline="0">
                <a:solidFill>
                  <a:schemeClr val="tx2"/>
                </a:solidFill>
              </a:defRPr>
            </a:lvl1pPr>
            <a:lvl2pPr marL="257175" indent="0" defTabSz="171450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125" b="1" spc="0" baseline="0"/>
            </a:lvl2pPr>
            <a:lvl3pPr marL="514350" indent="0" defTabSz="171450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15" b="1" spc="0" baseline="0"/>
            </a:lvl3pPr>
            <a:lvl4pPr marL="771525" indent="0" defTabSz="171450">
              <a:spcBef>
                <a:spcPts val="0"/>
              </a:spcBef>
              <a:buFont typeface="Arial" panose="020B0604020202020204" pitchFamily="34" charset="0"/>
              <a:buNone/>
              <a:defRPr sz="900" b="1" spc="0" baseline="0"/>
            </a:lvl4pPr>
            <a:lvl5pPr marL="1028700" indent="0" defTabSz="171450">
              <a:spcBef>
                <a:spcPts val="0"/>
              </a:spcBef>
              <a:buFont typeface="Arial" panose="020B0604020202020204" pitchFamily="34" charset="0"/>
              <a:buNone/>
              <a:defRPr sz="900" b="1" spc="0" baseline="0"/>
            </a:lvl5pPr>
            <a:lvl6pPr marL="1285875" indent="0" defTabSz="685800">
              <a:spcBef>
                <a:spcPct val="20000"/>
              </a:spcBef>
              <a:buFont typeface="Arial" panose="020B0604020202020204" pitchFamily="34" charset="0"/>
              <a:buNone/>
              <a:defRPr sz="900" b="1"/>
            </a:lvl6pPr>
            <a:lvl7pPr marL="1543050" indent="0" defTabSz="685800">
              <a:spcBef>
                <a:spcPct val="20000"/>
              </a:spcBef>
              <a:buFont typeface="Arial" panose="020B0604020202020204" pitchFamily="34" charset="0"/>
              <a:buNone/>
              <a:defRPr sz="900" b="1"/>
            </a:lvl7pPr>
            <a:lvl8pPr marL="1800225" indent="0" defTabSz="685800">
              <a:spcBef>
                <a:spcPct val="20000"/>
              </a:spcBef>
              <a:buFont typeface="Arial" panose="020B0604020202020204" pitchFamily="34" charset="0"/>
              <a:buNone/>
              <a:defRPr sz="900" b="1"/>
            </a:lvl8pPr>
            <a:lvl9pPr marL="2057400" indent="0" defTabSz="685800">
              <a:spcBef>
                <a:spcPct val="20000"/>
              </a:spcBef>
              <a:buFont typeface="Arial" panose="020B0604020202020204" pitchFamily="34" charset="0"/>
              <a:buNone/>
              <a:defRPr sz="900" b="1"/>
            </a:lvl9pPr>
          </a:lstStyle>
          <a:p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3" t="12575" r="-254" b="20522"/>
          <a:stretch>
            <a:fillRect/>
          </a:stretch>
        </p:blipFill>
        <p:spPr>
          <a:xfrm>
            <a:off x="-38749" y="1061849"/>
            <a:ext cx="9205995" cy="408162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36259"/>
            <a:ext cx="5902923" cy="136525"/>
          </a:xfrm>
        </p:spPr>
        <p:txBody>
          <a:bodyPr/>
          <a:lstStyle/>
          <a:p>
            <a:pPr lvl="0"/>
            <a:r>
              <a:rPr lang="zh-CN" altLang="en-US" dirty="0">
                <a:solidFill>
                  <a:schemeClr val="tx1"/>
                </a:solidFill>
                <a:latin typeface="Noto Sans SC Regular" panose="020B0500000000000000" pitchFamily="34" charset="-122"/>
                <a:ea typeface="Noto Sans SC Regular" panose="020B0500000000000000" pitchFamily="34" charset="-122"/>
              </a:rPr>
              <a:t>可选页脚（例：仅供内部参考）</a:t>
            </a:r>
            <a:endParaRPr lang="zh-CN" altLang="en-US" dirty="0">
              <a:solidFill>
                <a:schemeClr val="tx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tx1"/>
                </a:solidFill>
              </a:rPr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zh-CN" altLang="en-US" dirty="0">
                <a:latin typeface="+mn-ea"/>
              </a:rPr>
              <a:t>文本文字</a:t>
            </a:r>
            <a:endParaRPr lang="en-US" dirty="0">
              <a:latin typeface="+mn-ea"/>
            </a:endParaRPr>
          </a:p>
          <a:p>
            <a:pPr lvl="1"/>
            <a:r>
              <a:rPr lang="zh-CN" altLang="en-US" dirty="0">
                <a:latin typeface="+mn-ea"/>
              </a:rPr>
              <a:t>文本文字</a:t>
            </a:r>
            <a:endParaRPr lang="zh-CN" altLang="en-US" dirty="0">
              <a:latin typeface="+mn-ea"/>
            </a:endParaRPr>
          </a:p>
        </p:txBody>
      </p:sp>
      <p:sp>
        <p:nvSpPr>
          <p:cNvPr id="13" name="Title 4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569387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2000" dirty="0">
                <a:solidFill>
                  <a:srgbClr val="000AD2"/>
                </a:solidFill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</a:rPr>
            </a:br>
            <a:r>
              <a:rPr lang="zh-CN" altLang="en-US" sz="1600" dirty="0">
                <a:solidFill>
                  <a:srgbClr val="000AD2"/>
                </a:solidFill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Object 8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2889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 dirty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pic>
        <p:nvPicPr>
          <p:cNvPr id="7" name="Picture 6" descr="A person sitting at a table with a computer&#10;&#10;Description automatically generated with low confidence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09" b="18105"/>
          <a:stretch>
            <a:fillRect/>
          </a:stretch>
        </p:blipFill>
        <p:spPr>
          <a:xfrm>
            <a:off x="0" y="1068370"/>
            <a:ext cx="9144000" cy="4089399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8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lvl="0"/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3" name="Title 4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569387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2000" dirty="0">
                <a:solidFill>
                  <a:srgbClr val="000AD2"/>
                </a:solidFill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</a:rPr>
            </a:br>
            <a:r>
              <a:rPr lang="zh-CN" altLang="en-US" sz="1600" dirty="0">
                <a:solidFill>
                  <a:srgbClr val="000AD2"/>
                </a:solidFill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7" name="Text Placeholder 7"/>
          <p:cNvSpPr txBox="1"/>
          <p:nvPr/>
        </p:nvSpPr>
        <p:spPr>
          <a:xfrm>
            <a:off x="4860131" y="1607050"/>
            <a:ext cx="1848894" cy="1506020"/>
          </a:xfrm>
          <a:prstGeom prst="rect">
            <a:avLst/>
          </a:prstGeom>
          <a:ln w="25400">
            <a:solidFill>
              <a:schemeClr val="bg1"/>
            </a:solidFill>
          </a:ln>
        </p:spPr>
        <p:txBody>
          <a:bodyPr lIns="182880" tIns="182880" rIns="91440" bIns="0"/>
          <a:lstStyle>
            <a:lvl1pPr marL="0" indent="0" algn="l" defTabSz="171450" rtl="0" eaLnBrk="1" latinLnBrk="0" hangingPunct="1">
              <a:spcBef>
                <a:spcPts val="12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en-US" sz="330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defTabSz="914400"/>
            <a:r>
              <a:rPr lang="zh-CN" altLang="en-US" sz="105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endParaRPr lang="en-US" sz="105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Text Placeholder 5"/>
          <p:cNvSpPr txBox="1"/>
          <p:nvPr/>
        </p:nvSpPr>
        <p:spPr>
          <a:xfrm>
            <a:off x="6989002" y="1607050"/>
            <a:ext cx="1868058" cy="1506020"/>
          </a:xfrm>
          <a:prstGeom prst="rect">
            <a:avLst/>
          </a:prstGeom>
          <a:ln w="25400">
            <a:solidFill>
              <a:schemeClr val="bg1"/>
            </a:solidFill>
          </a:ln>
        </p:spPr>
        <p:txBody>
          <a:bodyPr lIns="182880" tIns="182880" rIns="91440" bIns="0"/>
          <a:lstStyle>
            <a:lvl1pPr marL="0" indent="0" algn="l" defTabSz="171450" rtl="0" eaLnBrk="1" latinLnBrk="0" hangingPunct="1">
              <a:spcBef>
                <a:spcPts val="12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US" sz="330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defTabSz="914400"/>
            <a:r>
              <a:rPr lang="zh-CN" altLang="en-US" sz="105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endParaRPr lang="en-US" altLang="zh-CN" sz="105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lid_bg"/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A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2611742" y="423867"/>
            <a:ext cx="3920516" cy="3920516"/>
          </a:xfrm>
          <a:prstGeom prst="ellipse">
            <a:avLst/>
          </a:pr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1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6" name="Circle SmartArt"/>
          <p:cNvGraphicFramePr/>
          <p:nvPr/>
        </p:nvGraphicFramePr>
        <p:xfrm>
          <a:off x="1261322" y="179492"/>
          <a:ext cx="6607806" cy="4405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2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4" name="Center Text"/>
          <p:cNvSpPr txBox="1"/>
          <p:nvPr/>
        </p:nvSpPr>
        <p:spPr>
          <a:xfrm>
            <a:off x="3238500" y="2022487"/>
            <a:ext cx="2667000" cy="7232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要观点</a:t>
            </a:r>
            <a:br>
              <a:rPr lang="zh-CN" altLang="en-US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GB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1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zh-CN" altLang="en-US" sz="11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17"/>
          <a:stretch>
            <a:fillRect/>
          </a:stretch>
        </p:blipFill>
        <p:spPr>
          <a:xfrm>
            <a:off x="0" y="11975"/>
            <a:ext cx="9144000" cy="512972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15724" y="2063919"/>
            <a:ext cx="7512552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zh-CN" altLang="en-US" sz="32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主要观点</a:t>
            </a:r>
            <a:endParaRPr lang="en-US" sz="32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>
              <a:spcBef>
                <a:spcPts val="2400"/>
              </a:spcBef>
            </a:pPr>
            <a:r>
              <a:rPr lang="zh-CN" altLang="en-US" sz="14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本文字</a:t>
            </a:r>
            <a:endParaRPr lang="en-GB" altLang="zh-CN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763115" y="4820826"/>
            <a:ext cx="5902923" cy="136525"/>
          </a:xfrm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可选页脚（例：仅供内部参考）</a:t>
            </a:r>
            <a:endParaRPr lang="zh-CN" altLang="en-US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2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  <p:sp>
        <p:nvSpPr>
          <p:cNvPr id="10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lid_bg"/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A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1" t="-136" r="35135" b="136"/>
          <a:stretch>
            <a:fillRect/>
          </a:stretch>
        </p:blipFill>
        <p:spPr>
          <a:xfrm>
            <a:off x="-15498" y="-7749"/>
            <a:ext cx="4579749" cy="5158740"/>
          </a:xfrm>
          <a:prstGeom prst="rect">
            <a:avLst/>
          </a:prstGeom>
        </p:spPr>
      </p:pic>
      <p:sp>
        <p:nvSpPr>
          <p:cNvPr id="9" name="Title 5"/>
          <p:cNvSpPr txBox="1"/>
          <p:nvPr/>
        </p:nvSpPr>
        <p:spPr>
          <a:xfrm>
            <a:off x="4864232" y="271838"/>
            <a:ext cx="3992828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7145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0" kern="120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zh-CN" altLang="en-US" sz="2000" dirty="0">
                <a:solidFill>
                  <a:srgbClr val="F0F0F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标题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25232" y="1680313"/>
            <a:ext cx="3070827" cy="4308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kumimoji="0" lang="zh-CN" altLang="en-US" sz="1000" b="1" u="none" strike="noStrike" kern="0" cap="none" spc="0" normalizeH="0" baseline="0" noProof="0" dirty="0">
                <a:ln>
                  <a:noFill/>
                </a:ln>
                <a:solidFill>
                  <a:srgbClr val="5FF9FF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kumimoji="0" lang="en-GB" sz="1000" b="1" u="none" strike="noStrike" kern="0" cap="none" spc="0" normalizeH="0" baseline="0" noProof="0" dirty="0">
              <a:ln>
                <a:noFill/>
              </a:ln>
              <a:solidFill>
                <a:srgbClr val="5FF9FF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kumimoji="0" lang="zh-CN" altLang="en-US" sz="1200" b="0" i="0" u="none" strike="noStrike" kern="1200" cap="none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kumimoji="0" lang="en-GB" sz="1200" b="0" i="0" u="none" strike="noStrike" kern="1200" cap="none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25232" y="2813292"/>
            <a:ext cx="3070827" cy="430887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lang="zh-CN" altLang="en-US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GB" altLang="zh-CN" sz="1000" b="1" kern="0" dirty="0">
              <a:solidFill>
                <a:srgbClr val="5FF9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zh-CN" altLang="en-US" sz="12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GB" altLang="zh-CN" sz="12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25232" y="3946269"/>
            <a:ext cx="3070827" cy="430887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lang="zh-CN" altLang="en-US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lang="en-GB" altLang="zh-CN" sz="1000" b="1" kern="0" dirty="0">
              <a:solidFill>
                <a:srgbClr val="5FF9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zh-CN" altLang="en-US" sz="12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GB" altLang="zh-CN" sz="12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478859" y="2462246"/>
            <a:ext cx="763572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478859" y="3595224"/>
            <a:ext cx="763572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0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tIns="0" rIns="0" bIns="0"/>
          <a:lstStyle/>
          <a:p>
            <a:r>
              <a:rPr lang="zh-CN" altLang="en-US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标题（</a:t>
            </a:r>
            <a:r>
              <a:rPr lang="en-US" altLang="zh-CN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ext Placeholder 7"/>
          <p:cNvSpPr txBox="1"/>
          <p:nvPr/>
        </p:nvSpPr>
        <p:spPr>
          <a:xfrm>
            <a:off x="288900" y="2578100"/>
            <a:ext cx="2667600" cy="199390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lIns="108000" tIns="108000" rIns="10800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12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en-US" sz="2100" dirty="0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zh-CN" alt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2" name="Text Placeholder 5"/>
          <p:cNvSpPr txBox="1"/>
          <p:nvPr/>
        </p:nvSpPr>
        <p:spPr>
          <a:xfrm>
            <a:off x="3238200" y="2578100"/>
            <a:ext cx="2667600" cy="199390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lIns="108000" tIns="108000" rIns="108000" bIns="0" rtlCol="0" anchor="t" anchorCtr="0">
            <a:noAutofit/>
          </a:bodyPr>
          <a:lstStyle>
            <a:lvl1pPr marL="0" indent="0" algn="l" defTabSz="171450" rtl="0" eaLnBrk="1" latinLnBrk="0" hangingPunct="1">
              <a:spcBef>
                <a:spcPts val="12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US" altLang="zh-CN" sz="2100" dirty="0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zh-CN" alt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3" name="Text Placeholder 6"/>
          <p:cNvSpPr txBox="1"/>
          <p:nvPr/>
        </p:nvSpPr>
        <p:spPr>
          <a:xfrm>
            <a:off x="6190655" y="2578100"/>
            <a:ext cx="2666405" cy="1993900"/>
          </a:xfrm>
          <a:prstGeom prst="rect">
            <a:avLst/>
          </a:prstGeom>
          <a:solidFill>
            <a:schemeClr val="bg1"/>
          </a:solidFill>
        </p:spPr>
        <p:txBody>
          <a:bodyPr lIns="108000" tIns="108000" rIns="108000"/>
          <a:lstStyle>
            <a:lvl1pPr marL="0" indent="0" algn="l" defTabSz="171450" rtl="0" eaLnBrk="1" latinLnBrk="0" hangingPunct="1">
              <a:spcBef>
                <a:spcPts val="1200"/>
              </a:spcBef>
              <a:buFont typeface="Verdana" panose="020B0604030504040204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355" indent="-17335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3080" indent="-15557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5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lang="en-US" altLang="zh-CN" sz="2100" dirty="0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zh-CN" alt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/>
              <a:t>可选页脚（例：仅供内部参考）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17134" y="1738313"/>
            <a:ext cx="7485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Equities</a:t>
            </a:r>
            <a:endParaRPr lang="en-US" sz="1200" b="1" dirty="0"/>
          </a:p>
        </p:txBody>
      </p:sp>
      <p:sp>
        <p:nvSpPr>
          <p:cNvPr id="11" name="Oval 10"/>
          <p:cNvSpPr/>
          <p:nvPr/>
        </p:nvSpPr>
        <p:spPr>
          <a:xfrm>
            <a:off x="2347913" y="1924050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Earning </a:t>
            </a:r>
            <a:endParaRPr lang="en-US" sz="1200" dirty="0"/>
          </a:p>
          <a:p>
            <a:pPr algn="ctr"/>
            <a:r>
              <a:rPr lang="en-US" sz="1200" dirty="0"/>
              <a:t>growth</a:t>
            </a:r>
            <a:endParaRPr lang="en-US" sz="1200" dirty="0"/>
          </a:p>
        </p:txBody>
      </p:sp>
      <p:sp>
        <p:nvSpPr>
          <p:cNvPr id="17" name="Oval 16"/>
          <p:cNvSpPr/>
          <p:nvPr/>
        </p:nvSpPr>
        <p:spPr>
          <a:xfrm>
            <a:off x="4140994" y="1924050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Value </a:t>
            </a:r>
            <a:endParaRPr lang="en-US" sz="1200"/>
          </a:p>
          <a:p>
            <a:pPr algn="ctr"/>
            <a:r>
              <a:rPr lang="en-US" sz="1200"/>
              <a:t>Change</a:t>
            </a:r>
            <a:endParaRPr lang="en-US" sz="1200"/>
          </a:p>
        </p:txBody>
      </p:sp>
      <p:sp>
        <p:nvSpPr>
          <p:cNvPr id="18" name="Oval 17"/>
          <p:cNvSpPr/>
          <p:nvPr/>
        </p:nvSpPr>
        <p:spPr>
          <a:xfrm>
            <a:off x="5926931" y="1924050"/>
            <a:ext cx="866775" cy="8667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Yield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1017133" y="3259931"/>
            <a:ext cx="9271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Government</a:t>
            </a:r>
            <a:endParaRPr lang="en-US" sz="1200" b="1" dirty="0"/>
          </a:p>
          <a:p>
            <a:r>
              <a:rPr lang="en-US" sz="1200" b="1" dirty="0"/>
              <a:t>bonds</a:t>
            </a:r>
            <a:endParaRPr lang="en-US" sz="1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140019" y="13484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Capital return</a:t>
            </a:r>
            <a:endParaRPr lang="en-US" sz="12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4949769" y="13484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Income</a:t>
            </a:r>
            <a:endParaRPr lang="en-US" sz="1200" b="1" dirty="0"/>
          </a:p>
        </p:txBody>
      </p:sp>
      <p:sp>
        <p:nvSpPr>
          <p:cNvPr id="29" name="Freeform 5"/>
          <p:cNvSpPr>
            <a:spLocks noChangeAspect="1"/>
          </p:cNvSpPr>
          <p:nvPr/>
        </p:nvSpPr>
        <p:spPr bwMode="auto">
          <a:xfrm>
            <a:off x="3643313" y="2301479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0" name="Freeform 6"/>
          <p:cNvSpPr>
            <a:spLocks noChangeAspect="1"/>
          </p:cNvSpPr>
          <p:nvPr/>
        </p:nvSpPr>
        <p:spPr bwMode="auto">
          <a:xfrm>
            <a:off x="5464969" y="2301479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1" name="Freeform 7"/>
          <p:cNvSpPr>
            <a:spLocks noChangeAspect="1" noEditPoints="1"/>
          </p:cNvSpPr>
          <p:nvPr/>
        </p:nvSpPr>
        <p:spPr bwMode="auto">
          <a:xfrm>
            <a:off x="7173516" y="2328863"/>
            <a:ext cx="86916" cy="46435"/>
          </a:xfrm>
          <a:custGeom>
            <a:avLst/>
            <a:gdLst>
              <a:gd name="T0" fmla="*/ 0 w 73"/>
              <a:gd name="T1" fmla="*/ 39 h 39"/>
              <a:gd name="T2" fmla="*/ 73 w 73"/>
              <a:gd name="T3" fmla="*/ 39 h 39"/>
              <a:gd name="T4" fmla="*/ 73 w 73"/>
              <a:gd name="T5" fmla="*/ 30 h 39"/>
              <a:gd name="T6" fmla="*/ 0 w 73"/>
              <a:gd name="T7" fmla="*/ 30 h 39"/>
              <a:gd name="T8" fmla="*/ 0 w 73"/>
              <a:gd name="T9" fmla="*/ 39 h 39"/>
              <a:gd name="T10" fmla="*/ 0 w 73"/>
              <a:gd name="T11" fmla="*/ 8 h 39"/>
              <a:gd name="T12" fmla="*/ 73 w 73"/>
              <a:gd name="T13" fmla="*/ 8 h 39"/>
              <a:gd name="T14" fmla="*/ 73 w 73"/>
              <a:gd name="T15" fmla="*/ 0 h 39"/>
              <a:gd name="T16" fmla="*/ 0 w 73"/>
              <a:gd name="T17" fmla="*/ 0 h 39"/>
              <a:gd name="T18" fmla="*/ 0 w 73"/>
              <a:gd name="T19" fmla="*/ 8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39">
                <a:moveTo>
                  <a:pt x="0" y="39"/>
                </a:moveTo>
                <a:lnTo>
                  <a:pt x="73" y="39"/>
                </a:lnTo>
                <a:lnTo>
                  <a:pt x="73" y="30"/>
                </a:lnTo>
                <a:lnTo>
                  <a:pt x="0" y="30"/>
                </a:lnTo>
                <a:lnTo>
                  <a:pt x="0" y="39"/>
                </a:lnTo>
                <a:close/>
                <a:moveTo>
                  <a:pt x="0" y="8"/>
                </a:moveTo>
                <a:lnTo>
                  <a:pt x="73" y="8"/>
                </a:lnTo>
                <a:lnTo>
                  <a:pt x="73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2" name="Freeform 5"/>
          <p:cNvSpPr>
            <a:spLocks noChangeAspect="1"/>
          </p:cNvSpPr>
          <p:nvPr/>
        </p:nvSpPr>
        <p:spPr bwMode="auto">
          <a:xfrm>
            <a:off x="3643313" y="3810238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3" name="Freeform 6"/>
          <p:cNvSpPr>
            <a:spLocks noChangeAspect="1"/>
          </p:cNvSpPr>
          <p:nvPr/>
        </p:nvSpPr>
        <p:spPr bwMode="auto">
          <a:xfrm>
            <a:off x="5464969" y="3810238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4" name="Freeform 7"/>
          <p:cNvSpPr>
            <a:spLocks noChangeAspect="1" noEditPoints="1"/>
          </p:cNvSpPr>
          <p:nvPr/>
        </p:nvSpPr>
        <p:spPr bwMode="auto">
          <a:xfrm>
            <a:off x="7173516" y="3837623"/>
            <a:ext cx="86916" cy="46435"/>
          </a:xfrm>
          <a:custGeom>
            <a:avLst/>
            <a:gdLst>
              <a:gd name="T0" fmla="*/ 0 w 73"/>
              <a:gd name="T1" fmla="*/ 39 h 39"/>
              <a:gd name="T2" fmla="*/ 73 w 73"/>
              <a:gd name="T3" fmla="*/ 39 h 39"/>
              <a:gd name="T4" fmla="*/ 73 w 73"/>
              <a:gd name="T5" fmla="*/ 30 h 39"/>
              <a:gd name="T6" fmla="*/ 0 w 73"/>
              <a:gd name="T7" fmla="*/ 30 h 39"/>
              <a:gd name="T8" fmla="*/ 0 w 73"/>
              <a:gd name="T9" fmla="*/ 39 h 39"/>
              <a:gd name="T10" fmla="*/ 0 w 73"/>
              <a:gd name="T11" fmla="*/ 8 h 39"/>
              <a:gd name="T12" fmla="*/ 73 w 73"/>
              <a:gd name="T13" fmla="*/ 8 h 39"/>
              <a:gd name="T14" fmla="*/ 73 w 73"/>
              <a:gd name="T15" fmla="*/ 0 h 39"/>
              <a:gd name="T16" fmla="*/ 0 w 73"/>
              <a:gd name="T17" fmla="*/ 0 h 39"/>
              <a:gd name="T18" fmla="*/ 0 w 73"/>
              <a:gd name="T19" fmla="*/ 8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39">
                <a:moveTo>
                  <a:pt x="0" y="39"/>
                </a:moveTo>
                <a:lnTo>
                  <a:pt x="73" y="39"/>
                </a:lnTo>
                <a:lnTo>
                  <a:pt x="73" y="30"/>
                </a:lnTo>
                <a:lnTo>
                  <a:pt x="0" y="30"/>
                </a:lnTo>
                <a:lnTo>
                  <a:pt x="0" y="39"/>
                </a:lnTo>
                <a:close/>
                <a:moveTo>
                  <a:pt x="0" y="8"/>
                </a:moveTo>
                <a:lnTo>
                  <a:pt x="73" y="8"/>
                </a:lnTo>
                <a:lnTo>
                  <a:pt x="73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25718" rIns="68580" bIns="34290" numCol="1" anchor="t" anchorCtr="0" compatLnSpc="1"/>
          <a:lstStyle/>
          <a:p>
            <a:endParaRPr lang="en-US" sz="1200"/>
          </a:p>
        </p:txBody>
      </p:sp>
      <p:sp>
        <p:nvSpPr>
          <p:cNvPr id="36" name="TextBox 35"/>
          <p:cNvSpPr txBox="1"/>
          <p:nvPr/>
        </p:nvSpPr>
        <p:spPr>
          <a:xfrm>
            <a:off x="7441509" y="22628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Total return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441509" y="3777320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Total return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2347913" y="3426279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Roll return</a:t>
            </a:r>
            <a:endParaRPr lang="en-US" sz="1200" dirty="0"/>
          </a:p>
        </p:txBody>
      </p:sp>
      <p:sp>
        <p:nvSpPr>
          <p:cNvPr id="39" name="Oval 38"/>
          <p:cNvSpPr/>
          <p:nvPr/>
        </p:nvSpPr>
        <p:spPr>
          <a:xfrm>
            <a:off x="4140994" y="3426279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Value </a:t>
            </a:r>
            <a:endParaRPr lang="en-US" sz="1200"/>
          </a:p>
          <a:p>
            <a:pPr algn="ctr"/>
            <a:r>
              <a:rPr lang="en-US" sz="1200"/>
              <a:t>Change</a:t>
            </a:r>
            <a:endParaRPr lang="en-US" sz="1200"/>
          </a:p>
        </p:txBody>
      </p:sp>
      <p:sp>
        <p:nvSpPr>
          <p:cNvPr id="40" name="Oval 39"/>
          <p:cNvSpPr/>
          <p:nvPr/>
        </p:nvSpPr>
        <p:spPr>
          <a:xfrm>
            <a:off x="5926931" y="3426279"/>
            <a:ext cx="866775" cy="8667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Yield</a:t>
            </a:r>
            <a:endParaRPr lang="en-US" sz="1200" dirty="0"/>
          </a:p>
        </p:txBody>
      </p:sp>
      <p:cxnSp>
        <p:nvCxnSpPr>
          <p:cNvPr id="42" name="Straight Connector 41"/>
          <p:cNvCxnSpPr/>
          <p:nvPr/>
        </p:nvCxnSpPr>
        <p:spPr>
          <a:xfrm>
            <a:off x="1035482" y="3151414"/>
            <a:ext cx="70900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Object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Editor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8890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</a:rPr>
              <a:t>要点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</a:rPr>
              <a:t>1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8900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kumimoji="0" lang="zh-CN" altLang="en-US" sz="1200" b="0" i="0" u="none" strike="noStrike" kern="120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文本文字</a:t>
            </a:r>
            <a:endParaRPr kumimoji="0" lang="en-US" altLang="zh-CN" sz="1200" b="0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kumimoji="0" lang="en-US" sz="1200" b="0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354953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570400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785847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49766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2</a:t>
            </a:r>
            <a:endParaRPr lang="en-US" altLang="zh-CN" b="1" dirty="0">
              <a:solidFill>
                <a:srgbClr val="000AD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504346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706421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3</a:t>
            </a:r>
            <a:endParaRPr lang="en-US" altLang="zh-CN" b="1" dirty="0">
              <a:solidFill>
                <a:srgbClr val="000AD2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719793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94040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4</a:t>
            </a:r>
            <a:endParaRPr lang="en-US" altLang="zh-CN" b="1" dirty="0">
              <a:solidFill>
                <a:srgbClr val="000AD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940400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5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/>
              <a:t>可选页脚（例：仅供内部参考）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013D17A-F1A2-4EC8-B129-1FB27AD2B9A2}" type="slidenum">
              <a:rPr lang="en-US" smtClean="0"/>
            </a:fld>
            <a:endParaRPr lang="en-US"/>
          </a:p>
        </p:txBody>
      </p:sp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/>
        </p:nvGraphicFramePr>
        <p:xfrm>
          <a:off x="2099733" y="1054100"/>
          <a:ext cx="4931834" cy="288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288900" y="1054100"/>
            <a:ext cx="1743945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88900" y="1095121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30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sz="10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793304" y="1628563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93304" y="1669584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30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1285853" y="2203026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285853" y="2244047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30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1778402" y="2777489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778402" y="2818510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30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2270950" y="3351954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270950" y="3392975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30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013D17A-F1A2-4EC8-B129-1FB27AD2B9A2}" type="slidenum">
              <a:rPr lang="en-US" smtClean="0"/>
            </a:fld>
            <a:endParaRPr lang="en-US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88130" y="4108850"/>
            <a:ext cx="8568927" cy="481013"/>
          </a:xfrm>
        </p:spPr>
        <p:txBody>
          <a:bodyPr lIns="0" t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2" name="Picture Placeholder 22"/>
          <p:cNvPicPr>
            <a:picLocks noGrp="1" noChangeAspect="1"/>
          </p:cNvPicPr>
          <p:nvPr>
            <p:ph type="pic" sz="quarter" idx="40"/>
          </p:nvPr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1" name="Picture Placeholder 23"/>
          <p:cNvPicPr>
            <a:picLocks noGrp="1" noChangeAspect="1"/>
          </p:cNvPicPr>
          <p:nvPr>
            <p:ph type="pic" sz="quarter" idx="4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45" b="345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0" name="Picture Placeholder 24"/>
          <p:cNvPicPr>
            <a:picLocks noGrp="1" noChangeAspect="1"/>
          </p:cNvPicPr>
          <p:nvPr>
            <p:ph type="pic" sz="quarter" idx="44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&amp;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</a:t>
            </a:r>
            <a:br>
              <a:rPr lang="en-GB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素材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M: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市场片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市场服务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公共盘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新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7" action="ppaction://hlinkfile"/>
              </a:rPr>
              <a:t>VI</a:t>
            </a: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GB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70" lvl="2" indent="-102870" defTabSz="128270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40" lvl="3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10" lvl="4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/>
          <p:cNvSpPr txBox="1"/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/>
          <p:cNvSpPr txBox="1"/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4" name="3" hidden="1"/>
          <p:cNvSpPr txBox="1"/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6" name="4" hidden="1"/>
          <p:cNvSpPr txBox="1"/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7" name="5" hidden="1"/>
          <p:cNvSpPr txBox="1"/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8" name="6" hidden="1"/>
          <p:cNvSpPr txBox="1"/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9" name="7" hidden="1"/>
          <p:cNvSpPr txBox="1"/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0" name="8" hidden="1"/>
          <p:cNvSpPr txBox="1"/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1" name="9" hidden="1"/>
          <p:cNvSpPr txBox="1"/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&amp;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</a:t>
            </a:r>
            <a:br>
              <a:rPr lang="en-GB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素材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M: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市场片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市场服务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公共盘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新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1" action="ppaction://hlinkfile"/>
              </a:rPr>
              <a:t>VI</a:t>
            </a: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zh-CN" alt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38500" y="1054100"/>
            <a:ext cx="565116" cy="64008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90060" y="1083705"/>
            <a:ext cx="567733" cy="566768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92409" y="1124882"/>
            <a:ext cx="573833" cy="443816"/>
          </a:xfrm>
          <a:prstGeom prst="rect">
            <a:avLst/>
          </a:prstGeom>
        </p:spPr>
      </p:pic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0226" y="2050095"/>
            <a:ext cx="1563548" cy="1043309"/>
          </a:xfrm>
        </p:spPr>
        <p:txBody>
          <a:bodyPr/>
          <a:lstStyle/>
          <a:p>
            <a:r>
              <a:rPr lang="zh-CN" altLang="en-US" sz="6000" dirty="0"/>
              <a:t>谢谢</a:t>
            </a:r>
            <a:endParaRPr lang="en-US" sz="60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70" lvl="2" indent="-102870" defTabSz="128270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40" lvl="3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10" lvl="4" indent="-102870" defTabSz="128270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/>
          <p:cNvSpPr txBox="1"/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/>
          <p:cNvSpPr txBox="1"/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4" name="3" hidden="1"/>
          <p:cNvSpPr txBox="1"/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6" name="4" hidden="1"/>
          <p:cNvSpPr txBox="1"/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7" name="5" hidden="1"/>
          <p:cNvSpPr txBox="1"/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8" name="6" hidden="1"/>
          <p:cNvSpPr txBox="1"/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19" name="7" hidden="1"/>
          <p:cNvSpPr txBox="1"/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0" name="8" hidden="1"/>
          <p:cNvSpPr txBox="1"/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  <p:sp>
        <p:nvSpPr>
          <p:cNvPr id="21" name="9" hidden="1"/>
          <p:cNvSpPr txBox="1"/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50" rtl="0" eaLnBrk="1" latinLnBrk="0" hangingPunct="1">
              <a:lnSpc>
                <a:spcPct val="75000"/>
              </a:lnSpc>
              <a:spcBef>
                <a:spcPts val="675"/>
              </a:spcBef>
              <a:buFont typeface="Verdana" panose="020B0604030504040204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5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930" indent="-9906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800" indent="-102870" algn="l" defTabSz="17145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5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anose="020B0604030504040204" pitchFamily="34" charset="0"/>
              <a:buNone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黑体"/>
              <a:cs typeface="+mn-cs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VZ-BG" val="true"/>
</p:tagLst>
</file>

<file path=ppt/tags/tag10.xml><?xml version="1.0" encoding="utf-8"?>
<p:tagLst xmlns:p="http://schemas.openxmlformats.org/presentationml/2006/main">
  <p:tag name="IVZ-BG" val="true"/>
</p:tagLst>
</file>

<file path=ppt/tags/tag11.xml><?xml version="1.0" encoding="utf-8"?>
<p:tagLst xmlns:p="http://schemas.openxmlformats.org/presentationml/2006/main">
  <p:tag name="KSO_WM_UNIT_TABLE_BEAUTIFY" val="smartTable{44054772-c58b-4b96-9fec-5f3755b114a3}"/>
</p:tagLst>
</file>

<file path=ppt/tags/tag12.xml><?xml version="1.0" encoding="utf-8"?>
<p:tagLst xmlns:p="http://schemas.openxmlformats.org/presentationml/2006/main">
  <p:tag name="TOP_BORDER" val="true"/>
</p:tagLst>
</file>

<file path=ppt/tags/tag13.xml><?xml version="1.0" encoding="utf-8"?>
<p:tagLst xmlns:p="http://schemas.openxmlformats.org/presentationml/2006/main">
  <p:tag name="TOP_BORDER" val="true"/>
</p:tagLst>
</file>

<file path=ppt/tags/tag14.xml><?xml version="1.0" encoding="utf-8"?>
<p:tagLst xmlns:p="http://schemas.openxmlformats.org/presentationml/2006/main">
  <p:tag name="TOP_BORDER" val="true"/>
</p:tagLst>
</file>

<file path=ppt/tags/tag15.xml><?xml version="1.0" encoding="utf-8"?>
<p:tagLst xmlns:p="http://schemas.openxmlformats.org/presentationml/2006/main">
  <p:tag name="TOP_BORDER" val="true"/>
</p:tagLst>
</file>

<file path=ppt/tags/tag16.xml><?xml version="1.0" encoding="utf-8"?>
<p:tagLst xmlns:p="http://schemas.openxmlformats.org/presentationml/2006/main">
  <p:tag name="TOP_BORDER" val="true"/>
</p:tagLst>
</file>

<file path=ppt/tags/tag17.xml><?xml version="1.0" encoding="utf-8"?>
<p:tagLst xmlns:p="http://schemas.openxmlformats.org/presentationml/2006/main">
  <p:tag name="TOP_BORDER" val="true"/>
</p:tagLst>
</file>

<file path=ppt/tags/tag18.xml><?xml version="1.0" encoding="utf-8"?>
<p:tagLst xmlns:p="http://schemas.openxmlformats.org/presentationml/2006/main">
  <p:tag name="TOP_BORDER" val="true"/>
</p:tagLst>
</file>

<file path=ppt/tags/tag19.xml><?xml version="1.0" encoding="utf-8"?>
<p:tagLst xmlns:p="http://schemas.openxmlformats.org/presentationml/2006/main">
  <p:tag name="TOP_BORDER" val="true"/>
</p:tagLst>
</file>

<file path=ppt/tags/tag2.xml><?xml version="1.0" encoding="utf-8"?>
<p:tagLst xmlns:p="http://schemas.openxmlformats.org/presentationml/2006/main">
  <p:tag name="IVZ-BG" val="tru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JrEkLrsp1RaVdzlKwsTfDg"/>
</p:tagLst>
</file>

<file path=ppt/tags/tag22.xml><?xml version="1.0" encoding="utf-8"?>
<p:tagLst xmlns:p="http://schemas.openxmlformats.org/presentationml/2006/main">
  <p:tag name="IVZ-BG" val="true"/>
</p:tagLst>
</file>

<file path=ppt/tags/tag23.xml><?xml version="1.0" encoding="utf-8"?>
<p:tagLst xmlns:p="http://schemas.openxmlformats.org/presentationml/2006/main">
  <p:tag name="IVZ-BG" val="true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aIjLOb5cmMQnEGmIgOjfKw"/>
</p:tagLst>
</file>

<file path=ppt/tags/tag26.xml><?xml version="1.0" encoding="utf-8"?>
<p:tagLst xmlns:p="http://schemas.openxmlformats.org/presentationml/2006/main">
  <p:tag name="IVZSA_TEMPLATE" val="Design-Led"/>
  <p:tag name="IVZSA_AUDIENCE" val="Custom"/>
  <p:tag name="IVZSA_CUSTOMAUDIENCE" val="Optional footer"/>
  <p:tag name="IVZSA_TEXTSTYLE" val="Design-Led"/>
  <p:tag name="IVZSA_CHARTTABLESTYLE" val="Standard"/>
  <p:tag name="IVZSA_LOGO" val="Invesco"/>
  <p:tag name="IVZSA_FONT" val="Editor + Graphik"/>
</p:tagLst>
</file>

<file path=ppt/tags/tag3.xml><?xml version="1.0" encoding="utf-8"?>
<p:tagLst xmlns:p="http://schemas.openxmlformats.org/presentationml/2006/main">
  <p:tag name="IVZ-BG" val="true"/>
</p:tagLst>
</file>

<file path=ppt/tags/tag4.xml><?xml version="1.0" encoding="utf-8"?>
<p:tagLst xmlns:p="http://schemas.openxmlformats.org/presentationml/2006/main">
  <p:tag name="IVZ-BG" val="true"/>
</p:tagLst>
</file>

<file path=ppt/tags/tag5.xml><?xml version="1.0" encoding="utf-8"?>
<p:tagLst xmlns:p="http://schemas.openxmlformats.org/presentationml/2006/main">
  <p:tag name="IVZ-BG" val="true"/>
</p:tagLst>
</file>

<file path=ppt/tags/tag6.xml><?xml version="1.0" encoding="utf-8"?>
<p:tagLst xmlns:p="http://schemas.openxmlformats.org/presentationml/2006/main">
  <p:tag name="IVZ-BG" val="true"/>
</p:tagLst>
</file>

<file path=ppt/tags/tag7.xml><?xml version="1.0" encoding="utf-8"?>
<p:tagLst xmlns:p="http://schemas.openxmlformats.org/presentationml/2006/main">
  <p:tag name="IVZ-BG" val="true"/>
</p:tagLst>
</file>

<file path=ppt/tags/tag8.xml><?xml version="1.0" encoding="utf-8"?>
<p:tagLst xmlns:p="http://schemas.openxmlformats.org/presentationml/2006/main">
  <p:tag name="IVZ-BG" val="true"/>
</p:tagLst>
</file>

<file path=ppt/tags/tag9.xml><?xml version="1.0" encoding="utf-8"?>
<p:tagLst xmlns:p="http://schemas.openxmlformats.org/presentationml/2006/main">
  <p:tag name="IVZ-BG" val="true"/>
</p:tagLst>
</file>

<file path=ppt/theme/theme1.xml><?xml version="1.0" encoding="utf-8"?>
<a:theme xmlns:a="http://schemas.openxmlformats.org/drawingml/2006/main" name="IVZ 2020 Design Led Template">
  <a:themeElements>
    <a:clrScheme name="DV 2021_update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598FA"/>
      </a:accent2>
      <a:accent3>
        <a:srgbClr val="483FCD"/>
      </a:accent3>
      <a:accent4>
        <a:srgbClr val="9180FF"/>
      </a:accent4>
      <a:accent5>
        <a:srgbClr val="3831A0"/>
      </a:accent5>
      <a:accent6>
        <a:srgbClr val="B436E8"/>
      </a:accent6>
      <a:hlink>
        <a:srgbClr val="000AD2"/>
      </a:hlink>
      <a:folHlink>
        <a:srgbClr val="0598FA"/>
      </a:folHlink>
    </a:clrScheme>
    <a:fontScheme name="自定义 1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latin typeface="Arial" panose="020B0604020202020204" pitchFamily="34" charset="0"/>
            <a:ea typeface="黑体" panose="02010609060101010101" pitchFamily="49" charset="-122"/>
            <a:cs typeface="Arial" panose="020B0604020202020204" pitchFamily="34" charset="0"/>
          </a:defRPr>
        </a:defPPr>
      </a:lstStyle>
    </a:txDef>
  </a:objectDefaults>
  <a:custClrLst>
    <a:custClr name="Red">
      <a:srgbClr val="D52219"/>
    </a:custClr>
    <a:custClr name="Green">
      <a:srgbClr val="00B760"/>
    </a:custClr>
    <a:custClr name="Orange">
      <a:srgbClr val="F96706"/>
    </a:custClr>
    <a:custClr name="Icy Blue">
      <a:srgbClr val="5FF0FF"/>
    </a:custClr>
    <a:custClr name="Mid Blue">
      <a:srgbClr val="0598FA"/>
    </a:custClr>
    <a:custClr name="Warm Red">
      <a:srgbClr val="FF4632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VZ 2020 Design Led Template">
  <a:themeElements>
    <a:clrScheme name="DV 2021_update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598FA"/>
      </a:accent2>
      <a:accent3>
        <a:srgbClr val="483FCD"/>
      </a:accent3>
      <a:accent4>
        <a:srgbClr val="9180FF"/>
      </a:accent4>
      <a:accent5>
        <a:srgbClr val="3831A0"/>
      </a:accent5>
      <a:accent6>
        <a:srgbClr val="B436E8"/>
      </a:accent6>
      <a:hlink>
        <a:srgbClr val="000AD2"/>
      </a:hlink>
      <a:folHlink>
        <a:srgbClr val="0598FA"/>
      </a:folHlink>
    </a:clrScheme>
    <a:fontScheme name="自定义 1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latin typeface="Arial" panose="020B0604020202020204" pitchFamily="34" charset="0"/>
            <a:ea typeface="黑体" panose="02010609060101010101" pitchFamily="49" charset="-122"/>
            <a:cs typeface="Arial" panose="020B0604020202020204" pitchFamily="34" charset="0"/>
          </a:defRPr>
        </a:defPPr>
      </a:lstStyle>
    </a:txDef>
  </a:objectDefaults>
  <a:custClrLst>
    <a:custClr name="Red">
      <a:srgbClr val="D52219"/>
    </a:custClr>
    <a:custClr name="Green">
      <a:srgbClr val="00B760"/>
    </a:custClr>
    <a:custClr name="Orange">
      <a:srgbClr val="F96706"/>
    </a:custClr>
    <a:custClr name="Icy Blue">
      <a:srgbClr val="5FF0FF"/>
    </a:custClr>
    <a:custClr name="Mid Blue">
      <a:srgbClr val="0598FA"/>
    </a:custClr>
    <a:custClr name="Warm Red">
      <a:srgbClr val="FF4632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VZ 2020 Everyday Template">
  <a:themeElements>
    <a:clrScheme name="Invesco-TB sep20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00AD2"/>
      </a:accent2>
      <a:accent3>
        <a:srgbClr val="5FF0FF"/>
      </a:accent3>
      <a:accent4>
        <a:srgbClr val="0A9BFA"/>
      </a:accent4>
      <a:accent5>
        <a:srgbClr val="00D28C"/>
      </a:accent5>
      <a:accent6>
        <a:srgbClr val="AAF500"/>
      </a:accent6>
      <a:hlink>
        <a:srgbClr val="5FF0FF"/>
      </a:hlink>
      <a:folHlink>
        <a:srgbClr val="00036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custClrLst>
    <a:custClr name="R226 G35 B26">
      <a:srgbClr val="E2231A"/>
    </a:custClr>
    <a:custClr name="R175 G35 B165">
      <a:srgbClr val="AF23A5"/>
    </a:custClr>
    <a:custClr name="R0 G155 B250">
      <a:srgbClr val="009BFA"/>
    </a:custClr>
    <a:custClr name="R0 G140 B130">
      <a:srgbClr val="008C82"/>
    </a:custClr>
    <a:custClr name="R0 G183 B96">
      <a:srgbClr val="00B760"/>
    </a:custClr>
    <a:custClr name="R140 G200 B0">
      <a:srgbClr val="8CC8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69</Words>
  <Application>WPS 文字</Application>
  <PresentationFormat>全屏显示(16:9)</PresentationFormat>
  <Paragraphs>1680</Paragraphs>
  <Slides>81</Slides>
  <Notes>28</Notes>
  <HiddenSlides>0</HiddenSlides>
  <MMClips>0</MMClips>
  <ScaleCrop>false</ScaleCrop>
  <HeadingPairs>
    <vt:vector size="8" baseType="variant">
      <vt:variant>
        <vt:lpstr>已用的字体</vt:lpstr>
      </vt:variant>
      <vt:variant>
        <vt:i4>2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81</vt:i4>
      </vt:variant>
    </vt:vector>
  </HeadingPairs>
  <TitlesOfParts>
    <vt:vector size="113" baseType="lpstr">
      <vt:lpstr>Arial</vt:lpstr>
      <vt:lpstr>宋体</vt:lpstr>
      <vt:lpstr>Wingdings</vt:lpstr>
      <vt:lpstr>黑体</vt:lpstr>
      <vt:lpstr>汉仪中黑KW</vt:lpstr>
      <vt:lpstr>Verdana</vt:lpstr>
      <vt:lpstr>Graphik Semibold</vt:lpstr>
      <vt:lpstr>苹方-简</vt:lpstr>
      <vt:lpstr>Graphik Regular</vt:lpstr>
      <vt:lpstr>Arial</vt:lpstr>
      <vt:lpstr>黑体</vt:lpstr>
      <vt:lpstr>Calibri</vt:lpstr>
      <vt:lpstr>微软雅黑</vt:lpstr>
      <vt:lpstr>汉仪旗黑</vt:lpstr>
      <vt:lpstr>宋体</vt:lpstr>
      <vt:lpstr>Arial Unicode MS</vt:lpstr>
      <vt:lpstr>Helvetica Neue</vt:lpstr>
      <vt:lpstr>Noto Sans SC Regular</vt:lpstr>
      <vt:lpstr>Graphik</vt:lpstr>
      <vt:lpstr>Editor</vt:lpstr>
      <vt:lpstr>等线</vt:lpstr>
      <vt:lpstr>汉仪中等线KW</vt:lpstr>
      <vt:lpstr>黑体</vt:lpstr>
      <vt:lpstr>Thonburi</vt:lpstr>
      <vt:lpstr>汉仪书宋二KW</vt:lpstr>
      <vt:lpstr>Calibri</vt:lpstr>
      <vt:lpstr>Times New Roman</vt:lpstr>
      <vt:lpstr>IVZ 2020 Design Led Template</vt:lpstr>
      <vt:lpstr>1_IVZ 2020 Design Led Template</vt:lpstr>
      <vt:lpstr>IVZ 2020 Everyday Template</vt:lpstr>
      <vt:lpstr>TCLayout.ActiveDocument.1</vt:lpstr>
      <vt:lpstr>TCLayout.ActiveDocument.1</vt:lpstr>
      <vt:lpstr>2023年暑期实习答辩</vt:lpstr>
      <vt:lpstr>主标题（32，不加粗）</vt:lpstr>
      <vt:lpstr>主标题（32，不加粗）</vt:lpstr>
      <vt:lpstr>目录页(20，不加粗)</vt:lpstr>
      <vt:lpstr>参考线 使用规范说明</vt:lpstr>
      <vt:lpstr>PowerPoint 演示文稿</vt:lpstr>
      <vt:lpstr>基金经理介绍（20，不加粗） </vt:lpstr>
      <vt:lpstr>分隔页主标题（20，不加粗）</vt:lpstr>
      <vt:lpstr>分隔页主标题（20，不加粗）</vt:lpstr>
      <vt:lpstr>分隔页主标题（20，不加粗）</vt:lpstr>
      <vt:lpstr>交易信号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茅台600519，已知过去三年（2020年8月24日至2023年8月17日）9：31-10：00收盘价数据预测10：01收盘价，样本外数据7月14至8月17，样本内至7月13日</vt:lpstr>
      <vt:lpstr>茅台600519，已知过去三年（2020年8月24日至2023年8月17日）9：31-10：00收盘价数据预测10：02收盘价，样本外数据7月14至8月17，样本内至7月13日</vt:lpstr>
      <vt:lpstr>茅台600519，已知过去三年（2020年8月24日至2023年8月17日）9：31-10：00收盘价数据预测10：03收盘价，样本外数据7月14至8月17，样本内至7月13日</vt:lpstr>
      <vt:lpstr>茅台600519，已知过去三年（2020年8月24日至2023年8月17日）9：31-10：00收盘价数据预测10：04收盘价，样本外数据7月14至8月17，样本内至7月13日</vt:lpstr>
      <vt:lpstr>茅台600519，已知过去三年（2020年8月24日至2023年8月17日）9：31-10：00收盘价数据预测10：05收盘价，样本外数据7月14至8月17，样本内至7月13日</vt:lpstr>
      <vt:lpstr>茅台600519，已知过去三年（2020年8月24日至2023年8月17日）9：31-10：00收盘价数据预测10：06收盘价，样本外数据7月14至8月17，样本内至7月13日</vt:lpstr>
      <vt:lpstr>茅台600519，已知过去三年（2020年8月24日至2023年8月17日）9：31-10：00收盘价数据预测10：07收盘价，样本外数据7月14至8月17，样本内至7月13日</vt:lpstr>
      <vt:lpstr>茅台600519，已知过去三年（2020年8月24日至2023年8月17日）9：31-10：00收盘价数据预测10：08收盘价，样本外数据7月14至8月17，样本内至7月13日</vt:lpstr>
      <vt:lpstr>茅台600519，已知过去三年（2020年8月24日至2023年8月17日）9：31-10：00收盘价数据预测10：09收盘价，样本外数据7月14至8月17，样本内至7月13日</vt:lpstr>
      <vt:lpstr>茅台600519，已知过去三年（2020年8月24日至2023年8月17日）9：31-10：00收盘价数据预测10：10收盘价，样本外数据7月14至8月17，样本内至7月13日</vt:lpstr>
      <vt:lpstr>茅台600519，已知过去三年（2020年8月24日至2023年8月17日）9：31-10：00收盘价数据预测10：11收盘价，样本外数据7月14至8月17，样本内至7月13日</vt:lpstr>
      <vt:lpstr>茅台600519，已知过去三年（2020年8月24日至2023年8月17日）9：31-10：00收盘价数据预测10：12收盘价，样本外数据7月14至8月17，样本内至7月13日</vt:lpstr>
      <vt:lpstr>茅台600519，已知过去三年（2020年8月24日至2023年8月17日）9：31-10：00收盘价数据预测10：13收盘价，样本外数据7月14至8月17，样本内至7月13日</vt:lpstr>
      <vt:lpstr>茅台600519，已知过去三年（2020年8月24日至2023年8月17日）9：31-10：00收盘价数据预测10：14收盘价，样本外数据7月14至8月17，样本内至7月13日</vt:lpstr>
      <vt:lpstr>茅台600519，已知过去三年（2020年8月24日至2023年8月17日）9：31-10：00收盘价数据预测10：15收盘价，样本外数据7月14至8月17，样本内至7月13日</vt:lpstr>
      <vt:lpstr>茅台600519，已知过去三年（2020年8月24日至2023年8月17日）9：31-10：00收盘价数据预测10：16收盘价，样本外数据7月14至8月17，样本内至7月13日</vt:lpstr>
      <vt:lpstr>茅台600519，已知过去三年（2020年8月24日至2023年8月17日）9：31-10：00收盘价数据预测10：17收盘价，样本外数据7月14至8月17，样本内至7月13日</vt:lpstr>
      <vt:lpstr>茅台600519，已知过去三年（2020年8月24日至2023年8月17日）9：31-10：00收盘价数据预测10：18收盘价，样本外数据7月14至8月17，样本内至7月13日</vt:lpstr>
      <vt:lpstr>茅台600519，已知过去三年（2020年8月24日至2023年8月17日）9：31-10：00收盘价数据预测10：19收盘价，样本外数据7月14至8月17，样本内至7月13日</vt:lpstr>
      <vt:lpstr>茅台600519，已知过去三年（2020年8月24日至2023年8月17日）9：31-10：00收盘价数据预测10：20收盘价，样本外数据7月14至8月17，样本内至7月13日</vt:lpstr>
      <vt:lpstr>茅台600519，已知过去三年（2020年8月24日至2023年8月17日）9：31-10：00收盘价数据预测10：21收盘价，样本外数据7月14至8月17，样本内至7月13日</vt:lpstr>
      <vt:lpstr>茅台600519，已知过去三年（2020年8月24日至2023年8月17日）9：31-10：00收盘价数据预测10：22收盘价，样本外数据7月14至8月17，样本内至7月13日</vt:lpstr>
      <vt:lpstr>茅台600519，已知过去三年（2020年8月24日至2023年8月17日）9：31-10：00收盘价数据预测10：23收盘价，样本外数据7月14至8月17，样本内至7月13日</vt:lpstr>
      <vt:lpstr>茅台600519，已知过去三年（2020年8月24日至2023年8月17日）9：31-10：00收盘价数据预测10：24收盘价，样本外数据7月14至8月17，样本内至7月13日</vt:lpstr>
      <vt:lpstr>茅台600519，已知过去三年（2020年8月24日至2023年8月17日）9：31-10：00收盘价数据预测10：25收盘价，样本外数据7月14至8月17，样本内至7月13日</vt:lpstr>
      <vt:lpstr>茅台600519，已知过去三年（2020年8月24日至2023年8月17日）9：31-10：00收盘价数据预测10：26收盘价，样本外数据7月14至8月17，样本内至7月13日</vt:lpstr>
      <vt:lpstr>茅台600519，已知过去三年（2020年8月24日至2023年8月17日）9：31-10：00收盘价数据预测10：27收盘价，样本外数据7月14至8月17，样本内至7月13日</vt:lpstr>
      <vt:lpstr>茅台600519，已知过去三年（2020年8月24日至2023年8月17日）9：31-10：00收盘价数据预测10：28收盘价，样本外数据7月14至8月17，样本内至7月13日</vt:lpstr>
      <vt:lpstr>茅台600519，已知过去三年（2020年8月24日至2023年8月17日）9：31-10：00收盘价数据预测10：29收盘价，样本外数据7月14至8月17，样本内至7月13日</vt:lpstr>
      <vt:lpstr>茅台600519，已知过去三年（2020年8月24日至2023年8月17日）9：31-10：00收盘价数据预测10：30收盘价，样本外数据7月14至8月17，样本内至7月13日</vt:lpstr>
      <vt:lpstr>茅台600519，已知过去三年（2020年8月24日至2023年8月17日）9：31-10：00收盘价数据预测10：06收盘价，样本外数据7月14至8月17，样本内至7月13日</vt:lpstr>
      <vt:lpstr>交易时点选择 模型展示</vt:lpstr>
      <vt:lpstr>茅台600519(用到未来信息了）</vt:lpstr>
      <vt:lpstr>金山办公688111 (用到未来信息了）</vt:lpstr>
      <vt:lpstr>浦发银行600000 (用到未来信息了）</vt:lpstr>
      <vt:lpstr>白云机场600004 (用到未来信息了）</vt:lpstr>
      <vt:lpstr>海科B(不太对）900938 (用到未来信息了）</vt:lpstr>
      <vt:lpstr>德龙激光688170 (用到未来信息了）</vt:lpstr>
      <vt:lpstr>金科股份000656.SZ (用到未来信息了）</vt:lpstr>
      <vt:lpstr>剑桥科技603083 (用到未来信息了）</vt:lpstr>
      <vt:lpstr>论点展示（20，不加粗） 两栏（16，不加粗）</vt:lpstr>
      <vt:lpstr>数据表格（20，不加粗） 带高亮行</vt:lpstr>
      <vt:lpstr>文本表格（20，不加粗） </vt:lpstr>
      <vt:lpstr>图表颜色 </vt:lpstr>
      <vt:lpstr>色板 仅供数据图表中使用</vt:lpstr>
      <vt:lpstr>色板 仅供数据图表中使用</vt:lpstr>
      <vt:lpstr>图表示例 一栏</vt:lpstr>
      <vt:lpstr>图表示例 两栏</vt:lpstr>
      <vt:lpstr>图表示例 两栏</vt:lpstr>
      <vt:lpstr>图表示例 三栏</vt:lpstr>
      <vt:lpstr>图表示例 四栏</vt:lpstr>
      <vt:lpstr>图表示例 2*2栏</vt:lpstr>
      <vt:lpstr>文本文字</vt:lpstr>
      <vt:lpstr>主标题（20，不加粗） 副标题（16，不加粗）</vt:lpstr>
      <vt:lpstr>主标题（20，不加粗） 副标题（16，不加粗）</vt:lpstr>
      <vt:lpstr>PowerPoint 演示文稿</vt:lpstr>
      <vt:lpstr>PowerPoint 演示文稿</vt:lpstr>
      <vt:lpstr>PowerPoint 演示文稿</vt:lpstr>
      <vt:lpstr>主标题（20，不加粗）</vt:lpstr>
      <vt:lpstr>主标题（20，不加粗） 副标题（16，不加粗）</vt:lpstr>
      <vt:lpstr>主标题（20，不加粗） 副标题（16，不加粗）</vt:lpstr>
      <vt:lpstr>主标题（20，不加粗） 副标题（16，不加粗）</vt:lpstr>
      <vt:lpstr>文本&amp;小图标 小图标素材在M:\市场片\市场服务部\公共盘\新VI</vt:lpstr>
      <vt:lpstr>文本&amp;小图标 小图标素材在M:\市场片\市场服务部\公共盘\新VI</vt:lpstr>
      <vt:lpstr>谢谢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ric Gersbeck</dc:creator>
  <cp:lastModifiedBy>念凡</cp:lastModifiedBy>
  <cp:revision>164</cp:revision>
  <dcterms:created xsi:type="dcterms:W3CDTF">2023-08-27T16:57:21Z</dcterms:created>
  <dcterms:modified xsi:type="dcterms:W3CDTF">2023-08-27T16:5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7186F0ED1A5270C7180EB64E128AEB8_43</vt:lpwstr>
  </property>
  <property fmtid="{D5CDD505-2E9C-101B-9397-08002B2CF9AE}" pid="3" name="KSOProductBuildVer">
    <vt:lpwstr>2052-6.0.2.8225</vt:lpwstr>
  </property>
</Properties>
</file>